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notesMasterIdLst>
    <p:notesMasterId r:id="rId31"/>
  </p:notesMasterIdLst>
  <p:sldIdLst>
    <p:sldId id="335" r:id="rId6"/>
    <p:sldId id="2147474363" r:id="rId7"/>
    <p:sldId id="2147474366" r:id="rId8"/>
    <p:sldId id="2147474367" r:id="rId9"/>
    <p:sldId id="2147474368" r:id="rId10"/>
    <p:sldId id="2147474369" r:id="rId11"/>
    <p:sldId id="2147474370" r:id="rId12"/>
    <p:sldId id="2147474371" r:id="rId13"/>
    <p:sldId id="2147474364" r:id="rId14"/>
    <p:sldId id="2147474365" r:id="rId15"/>
    <p:sldId id="2147474372" r:id="rId16"/>
    <p:sldId id="2147474373" r:id="rId17"/>
    <p:sldId id="2147474374" r:id="rId18"/>
    <p:sldId id="2147474376" r:id="rId19"/>
    <p:sldId id="2147474377" r:id="rId20"/>
    <p:sldId id="2147474378" r:id="rId21"/>
    <p:sldId id="2147474381" r:id="rId22"/>
    <p:sldId id="2147474383" r:id="rId23"/>
    <p:sldId id="2147474385" r:id="rId24"/>
    <p:sldId id="2147474384" r:id="rId25"/>
    <p:sldId id="2147474386" r:id="rId26"/>
    <p:sldId id="2147474387" r:id="rId27"/>
    <p:sldId id="259" r:id="rId28"/>
    <p:sldId id="261" r:id="rId29"/>
    <p:sldId id="2147474388" r:id="rId30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3BC"/>
    <a:srgbClr val="00DB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2F6195-88DA-4E20-B6BD-D1B1CDD9EDFB}" v="3" dt="2026-01-08T10:53:42.4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09" autoAdjust="0"/>
    <p:restoredTop sz="94604" autoAdjust="0"/>
  </p:normalViewPr>
  <p:slideViewPr>
    <p:cSldViewPr snapToGrid="0">
      <p:cViewPr varScale="1">
        <p:scale>
          <a:sx n="150" d="100"/>
          <a:sy n="150" d="100"/>
        </p:scale>
        <p:origin x="858" y="1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53:42.447" v="2"/>
      <pc:docMkLst>
        <pc:docMk/>
      </pc:docMkLst>
      <pc:sldChg chg="add del">
        <pc:chgData name="Eva Parisi Tria" userId="79b09202-394d-4e2d-bcbc-186dc936d36f" providerId="ADAL" clId="{1EF2A93B-595E-4E39-AAA2-55AE1E6911AA}" dt="2026-01-08T10:53:42.447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3:42.447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2AF81B-D433-B084-76A5-D52D2E391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83F63798-2DA2-8C3F-1187-DDE3C01E3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8EB5EAF3-8DAF-C80A-57F9-874B8F8D95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2C5CD6-B7F4-D73B-97C5-9F0BC8728E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958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3028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D57DF-1656-B4A5-90FB-19A1A4D5DA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BB647E80-9E40-B322-3D22-9C0F337B7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73D3B8A5-E813-B9AC-A244-6FFB002D25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1D2B0F-2322-1AA7-7A69-D49F842AF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03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87FCD-4C7A-8CB2-CE25-B53F44D80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58FF4C17-EAAD-3183-6B74-0269BC980B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25CCA2F1-A944-5F65-2C9A-0F50AF1213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EF3C4-CF85-0431-6112-DA60F2B717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365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674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80232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52998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3041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876764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77725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9746545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33738595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20180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400222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8A8F9B-338C-50D9-C293-4C41BAE2E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77A093-22D0-884B-96F5-91617B8DD4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927835-8F4D-97A1-DD58-7331F0C46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1AF44-5FB2-4ADA-BCD4-12B67D9C65B3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5FC51A-BEB2-F887-CA82-44A1A9DF3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430639F-6297-EF5F-639C-2F900895F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7B3FF-1080-4DDF-A629-828C3EA8898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4595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050225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320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81043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0994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586812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182080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F94C3A54-15EA-543A-817C-DA3AE463BCBA}"/>
              </a:ext>
            </a:extLst>
          </p:cNvPr>
          <p:cNvSpPr txBox="1"/>
          <p:nvPr/>
        </p:nvSpPr>
        <p:spPr>
          <a:xfrm>
            <a:off x="990541" y="2113515"/>
            <a:ext cx="73758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200" dirty="0">
                <a:solidFill>
                  <a:schemeClr val="bg1"/>
                </a:solidFill>
              </a:rPr>
              <a:t>Use of Lipid-Lowering Treatment in Primary Prevention in Spain (</a:t>
            </a:r>
            <a:r>
              <a:rPr lang="en-US" sz="3200" dirty="0" err="1">
                <a:solidFill>
                  <a:schemeClr val="bg1"/>
                </a:solidFill>
              </a:rPr>
              <a:t>Lipidspain</a:t>
            </a:r>
            <a:r>
              <a:rPr lang="en-US" sz="3200" dirty="0">
                <a:solidFill>
                  <a:schemeClr val="bg1"/>
                </a:solidFill>
              </a:rPr>
              <a:t>) 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1F07E91-8268-E245-3E7D-384CF25B2A0D}"/>
              </a:ext>
            </a:extLst>
          </p:cNvPr>
          <p:cNvSpPr txBox="1"/>
          <p:nvPr/>
        </p:nvSpPr>
        <p:spPr>
          <a:xfrm>
            <a:off x="1626655" y="4950637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bg1"/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bg1"/>
                </a:solidFill>
              </a:rPr>
              <a:t>of</a:t>
            </a:r>
            <a:r>
              <a:rPr lang="es-ES" sz="1050" dirty="0">
                <a:solidFill>
                  <a:schemeClr val="bg1"/>
                </a:solidFill>
              </a:rPr>
              <a:t> </a:t>
            </a:r>
            <a:r>
              <a:rPr lang="es-ES" sz="1050" dirty="0" err="1">
                <a:solidFill>
                  <a:schemeClr val="bg1"/>
                </a:solidFill>
              </a:rPr>
              <a:t>Lipid-Lowering</a:t>
            </a:r>
            <a:r>
              <a:rPr lang="es-ES" sz="1050" dirty="0">
                <a:solidFill>
                  <a:schemeClr val="bg1"/>
                </a:solidFill>
              </a:rPr>
              <a:t> </a:t>
            </a:r>
            <a:r>
              <a:rPr lang="es-ES" sz="1050" dirty="0" err="1">
                <a:solidFill>
                  <a:schemeClr val="bg1"/>
                </a:solidFill>
              </a:rPr>
              <a:t>Treatment</a:t>
            </a:r>
            <a:r>
              <a:rPr lang="es-ES" sz="1050" dirty="0">
                <a:solidFill>
                  <a:schemeClr val="bg1"/>
                </a:solidFill>
              </a:rPr>
              <a:t> in </a:t>
            </a:r>
            <a:r>
              <a:rPr lang="es-ES" sz="1050" dirty="0" err="1">
                <a:solidFill>
                  <a:schemeClr val="bg1"/>
                </a:solidFill>
              </a:rPr>
              <a:t>Primary</a:t>
            </a:r>
            <a:r>
              <a:rPr lang="es-ES" sz="1050" dirty="0">
                <a:solidFill>
                  <a:schemeClr val="bg1"/>
                </a:solidFill>
              </a:rPr>
              <a:t> </a:t>
            </a:r>
            <a:r>
              <a:rPr lang="es-ES" sz="1050" dirty="0" err="1">
                <a:solidFill>
                  <a:schemeClr val="bg1"/>
                </a:solidFill>
              </a:rPr>
              <a:t>Prevention</a:t>
            </a:r>
            <a:r>
              <a:rPr lang="es-ES" sz="1050" dirty="0">
                <a:solidFill>
                  <a:schemeClr val="bg1"/>
                </a:solidFill>
              </a:rPr>
              <a:t> in </a:t>
            </a:r>
            <a:r>
              <a:rPr lang="es-ES" sz="1050" dirty="0" err="1">
                <a:solidFill>
                  <a:schemeClr val="bg1"/>
                </a:solidFill>
              </a:rPr>
              <a:t>Spain</a:t>
            </a:r>
            <a:r>
              <a:rPr lang="es-ES" sz="1050" dirty="0">
                <a:solidFill>
                  <a:schemeClr val="bg1"/>
                </a:solidFill>
              </a:rPr>
              <a:t> (</a:t>
            </a:r>
            <a:r>
              <a:rPr lang="es-ES" sz="1050" dirty="0" err="1">
                <a:solidFill>
                  <a:schemeClr val="bg1"/>
                </a:solidFill>
              </a:rPr>
              <a:t>Lipidspain</a:t>
            </a:r>
            <a:r>
              <a:rPr lang="es-ES" sz="1050" dirty="0">
                <a:solidFill>
                  <a:schemeClr val="bg1"/>
                </a:solidFill>
              </a:rPr>
              <a:t>). J. Clin. </a:t>
            </a:r>
            <a:r>
              <a:rPr lang="es-ES" sz="1050" dirty="0" err="1">
                <a:solidFill>
                  <a:schemeClr val="bg1"/>
                </a:solidFill>
              </a:rPr>
              <a:t>Med</a:t>
            </a:r>
            <a:r>
              <a:rPr lang="es-ES" sz="1050" dirty="0">
                <a:solidFill>
                  <a:schemeClr val="bg1"/>
                </a:solidFill>
              </a:rPr>
              <a:t>. 2025, 14, 6059. https://doi.org/10.3390/jcm14176059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E426FCC-08C2-28BA-775B-58F47D9E6F08}"/>
              </a:ext>
            </a:extLst>
          </p:cNvPr>
          <p:cNvSpPr txBox="1"/>
          <p:nvPr/>
        </p:nvSpPr>
        <p:spPr>
          <a:xfrm>
            <a:off x="3300945" y="6499462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75000"/>
                  </a:schemeClr>
                </a:solidFill>
              </a:rPr>
              <a:t>MA-ES-NOP-2500039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D8F1CFE-002F-5D77-6A0A-319BD6DCE9DE}"/>
              </a:ext>
            </a:extLst>
          </p:cNvPr>
          <p:cNvSpPr txBox="1"/>
          <p:nvPr/>
        </p:nvSpPr>
        <p:spPr>
          <a:xfrm>
            <a:off x="640012" y="6095505"/>
            <a:ext cx="279505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chemeClr val="bg1"/>
                </a:solidFill>
              </a:rPr>
              <a:t>Fecha de elaboración: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C0CD7-014B-56E6-4634-E48051C0A8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5CB89985-ECAA-AEC0-50C0-8817B3FDC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Objetivo:</a:t>
            </a:r>
            <a:endParaRPr lang="es-ES" dirty="0"/>
          </a:p>
        </p:txBody>
      </p:sp>
      <p:sp>
        <p:nvSpPr>
          <p:cNvPr id="2" name="Título 6">
            <a:extLst>
              <a:ext uri="{FF2B5EF4-FFF2-40B4-BE49-F238E27FC236}">
                <a16:creationId xmlns:a16="http://schemas.microsoft.com/office/drawing/2014/main" id="{E90C7CD9-F97A-C5CE-792B-54AD111F4A90}"/>
              </a:ext>
            </a:extLst>
          </p:cNvPr>
          <p:cNvSpPr txBox="1">
            <a:spLocks/>
          </p:cNvSpPr>
          <p:nvPr/>
        </p:nvSpPr>
        <p:spPr>
          <a:xfrm>
            <a:off x="828670" y="2790590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Métodos:</a:t>
            </a:r>
            <a:endParaRPr lang="es-ES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A8CBE322-D159-EC70-7705-56E1763DA379}"/>
              </a:ext>
            </a:extLst>
          </p:cNvPr>
          <p:cNvCxnSpPr/>
          <p:nvPr/>
        </p:nvCxnSpPr>
        <p:spPr>
          <a:xfrm>
            <a:off x="901822" y="3593592"/>
            <a:ext cx="104275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>
            <a:extLst>
              <a:ext uri="{FF2B5EF4-FFF2-40B4-BE49-F238E27FC236}">
                <a16:creationId xmlns:a16="http://schemas.microsoft.com/office/drawing/2014/main" id="{FAAF17D4-4338-96C3-4204-E46BFA6B1732}"/>
              </a:ext>
            </a:extLst>
          </p:cNvPr>
          <p:cNvSpPr txBox="1"/>
          <p:nvPr/>
        </p:nvSpPr>
        <p:spPr>
          <a:xfrm>
            <a:off x="828670" y="1463080"/>
            <a:ext cx="106104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valuar la gestión del perfil lipídico entre los pacientes de prevención secundaria en España utilizando el registro de la Base de Datos Clínica de Atención Primaria de España (BDCAP)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6BC53A2-3136-9982-E851-ECE8EDA4AB49}"/>
              </a:ext>
            </a:extLst>
          </p:cNvPr>
          <p:cNvSpPr txBox="1"/>
          <p:nvPr/>
        </p:nvSpPr>
        <p:spPr>
          <a:xfrm>
            <a:off x="1041459" y="4056300"/>
            <a:ext cx="10864028" cy="175432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Estudio observacional transver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Registro BDCAP: Base de Datos Clínica de Atención Prima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1"/>
                </a:solidFill>
              </a:rPr>
              <a:t>Pacientes con diagnósticos previos de enfermedad cardíaca isquémica, accidente cerebrovascular o enfermedad arterial periférica, y recibiendo terapia hipolipemiante</a:t>
            </a:r>
            <a:endParaRPr lang="es-ES_tradnl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Análisis monoterapia vs terapia combin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1"/>
                </a:solidFill>
              </a:rPr>
              <a:t>Análisis de los niveles séricos de LDL-c y los factores demográficos y socioeconómicos y regionale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D36BAEF-6318-F317-658D-DC21A382C188}"/>
              </a:ext>
            </a:extLst>
          </p:cNvPr>
          <p:cNvSpPr txBox="1"/>
          <p:nvPr/>
        </p:nvSpPr>
        <p:spPr>
          <a:xfrm>
            <a:off x="2210470" y="6200247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095EEA9-1A14-D382-8A4C-7A1930A27B1D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663365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1BF024DA-4228-BED8-9E2E-D2E6C7B031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8967" y="2057038"/>
            <a:ext cx="6119065" cy="3151804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34A7B5D7-9542-85AA-A4CB-C2D5DBE94573}"/>
              </a:ext>
            </a:extLst>
          </p:cNvPr>
          <p:cNvSpPr txBox="1"/>
          <p:nvPr/>
        </p:nvSpPr>
        <p:spPr>
          <a:xfrm>
            <a:off x="1152216" y="1828847"/>
            <a:ext cx="39821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sz="1600" dirty="0"/>
              <a:t>En 2023, un total de 7.3 millones de individuos en España recibieron al menos un hipolipemiante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1487BA7E-0410-90B5-B642-7B00346CE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79" y="242255"/>
            <a:ext cx="10469881" cy="865821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Tendencias de </a:t>
            </a:r>
            <a:r>
              <a:rPr lang="es-ES_tradnl" dirty="0" err="1"/>
              <a:t>tto</a:t>
            </a:r>
            <a:r>
              <a:rPr lang="es-ES_tradnl" dirty="0"/>
              <a:t> hipolipemiante entre el 2019 y el 2023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C694710-C9EB-4F85-8C59-61BCBBE68504}"/>
              </a:ext>
            </a:extLst>
          </p:cNvPr>
          <p:cNvSpPr txBox="1"/>
          <p:nvPr/>
        </p:nvSpPr>
        <p:spPr>
          <a:xfrm>
            <a:off x="2210470" y="5929614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DEF7856-1FDD-D9AB-A25C-8ECB38633F48}"/>
              </a:ext>
            </a:extLst>
          </p:cNvPr>
          <p:cNvSpPr txBox="1"/>
          <p:nvPr/>
        </p:nvSpPr>
        <p:spPr>
          <a:xfrm>
            <a:off x="1152216" y="2975678"/>
            <a:ext cx="39821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sz="1600" dirty="0"/>
              <a:t>De estos, el </a:t>
            </a:r>
            <a:r>
              <a:rPr lang="es-ES" sz="1600" b="1" dirty="0"/>
              <a:t>21.4%</a:t>
            </a:r>
            <a:r>
              <a:rPr lang="es-ES" sz="1600" dirty="0"/>
              <a:t> fueron clasificados como receptores de </a:t>
            </a:r>
            <a:r>
              <a:rPr lang="es-ES" sz="1600" dirty="0" err="1"/>
              <a:t>tto</a:t>
            </a:r>
            <a:r>
              <a:rPr lang="es-ES" sz="1600" dirty="0"/>
              <a:t> para la </a:t>
            </a:r>
            <a:r>
              <a:rPr lang="es-ES" sz="1600" b="1" dirty="0"/>
              <a:t>prevención 2ª</a:t>
            </a:r>
            <a:r>
              <a:rPr lang="es-ES" sz="1600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6F4D60E-D238-4D80-CDF8-8605CCAF1E86}"/>
              </a:ext>
            </a:extLst>
          </p:cNvPr>
          <p:cNvSpPr txBox="1"/>
          <p:nvPr/>
        </p:nvSpPr>
        <p:spPr>
          <a:xfrm>
            <a:off x="1152216" y="4122509"/>
            <a:ext cx="398214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tre los pacientes de prevención secundaria, el </a:t>
            </a:r>
            <a:r>
              <a:rPr lang="es-ES" b="1" dirty="0"/>
              <a:t>80.3%</a:t>
            </a:r>
            <a:r>
              <a:rPr lang="es-ES" dirty="0"/>
              <a:t> recibieron </a:t>
            </a:r>
            <a:r>
              <a:rPr lang="es-ES" b="1" dirty="0"/>
              <a:t>monoterapia</a:t>
            </a:r>
            <a:r>
              <a:rPr lang="es-ES" dirty="0"/>
              <a:t>, mientras que el </a:t>
            </a:r>
            <a:r>
              <a:rPr lang="es-ES" b="1" dirty="0"/>
              <a:t>19.7%</a:t>
            </a:r>
            <a:r>
              <a:rPr lang="es-ES" dirty="0"/>
              <a:t> recibieron una </a:t>
            </a:r>
            <a:r>
              <a:rPr lang="es-ES" b="1" dirty="0"/>
              <a:t>combinación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825F6E3-E115-5377-35DF-36A6F56F8C6F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765836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904A2-97F1-BD42-80B0-B4A110198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7A55480-7F1C-2007-C031-3C43BF751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9845" y="1532045"/>
            <a:ext cx="6586994" cy="440241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F9206072-EAD9-CCBA-98AE-8BCD4F84EC91}"/>
              </a:ext>
            </a:extLst>
          </p:cNvPr>
          <p:cNvSpPr txBox="1"/>
          <p:nvPr/>
        </p:nvSpPr>
        <p:spPr>
          <a:xfrm>
            <a:off x="2196979" y="6200247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5F6784F-DD94-0A60-2D01-20CC0EFB4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242255"/>
            <a:ext cx="11646569" cy="865821"/>
          </a:xfrm>
        </p:spPr>
        <p:txBody>
          <a:bodyPr>
            <a:normAutofit fontScale="90000"/>
          </a:bodyPr>
          <a:lstStyle/>
          <a:p>
            <a:pPr algn="ctr"/>
            <a:r>
              <a:rPr lang="es-ES_tradnl" dirty="0"/>
              <a:t>Diferencias en tasa de </a:t>
            </a:r>
            <a:r>
              <a:rPr lang="es-ES_tradnl" dirty="0" err="1"/>
              <a:t>tto</a:t>
            </a:r>
            <a:r>
              <a:rPr lang="es-ES_tradnl" dirty="0"/>
              <a:t> según tamaño municipal y estado de empleo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250B58D-9B3A-92CE-ECA5-0C2478E73ACB}"/>
              </a:ext>
            </a:extLst>
          </p:cNvPr>
          <p:cNvSpPr txBox="1"/>
          <p:nvPr/>
        </p:nvSpPr>
        <p:spPr>
          <a:xfrm>
            <a:off x="1067562" y="2099260"/>
            <a:ext cx="32301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uso de tratamiento fue </a:t>
            </a:r>
            <a:r>
              <a:rPr lang="es-ES" b="1" dirty="0"/>
              <a:t>más común</a:t>
            </a:r>
            <a:r>
              <a:rPr lang="es-ES" dirty="0"/>
              <a:t> entre individuos </a:t>
            </a:r>
            <a:r>
              <a:rPr lang="es-ES" b="1" dirty="0"/>
              <a:t>jubilados</a:t>
            </a:r>
            <a:r>
              <a:rPr lang="es-ES" dirty="0"/>
              <a:t>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6790BFC-1843-F743-18B8-7B223FD3AEEA}"/>
              </a:ext>
            </a:extLst>
          </p:cNvPr>
          <p:cNvSpPr txBox="1"/>
          <p:nvPr/>
        </p:nvSpPr>
        <p:spPr>
          <a:xfrm>
            <a:off x="1067562" y="3096748"/>
            <a:ext cx="323011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b="1" dirty="0"/>
              <a:t>No</a:t>
            </a:r>
            <a:r>
              <a:rPr lang="es-ES" dirty="0"/>
              <a:t> se encontraron diferencias significativas según el </a:t>
            </a:r>
            <a:r>
              <a:rPr lang="es-ES" b="1" dirty="0"/>
              <a:t>nivel de ingresos o el tamaño del municipio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6553347-AC51-4435-2389-F9007FC78666}"/>
              </a:ext>
            </a:extLst>
          </p:cNvPr>
          <p:cNvSpPr txBox="1"/>
          <p:nvPr/>
        </p:nvSpPr>
        <p:spPr>
          <a:xfrm>
            <a:off x="1067562" y="4516596"/>
            <a:ext cx="3230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b="1" dirty="0"/>
              <a:t>Más hombres </a:t>
            </a:r>
            <a:r>
              <a:rPr lang="es-ES" dirty="0"/>
              <a:t>que mujeres recibían </a:t>
            </a:r>
            <a:r>
              <a:rPr lang="es-ES" dirty="0" err="1"/>
              <a:t>tto</a:t>
            </a:r>
            <a:r>
              <a:rPr lang="es-ES" dirty="0"/>
              <a:t> hipolipemiante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3C807F5-83E7-32D9-4151-2AC10EA2BD51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21682777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5F525-4F88-32F6-C5BC-32FA8B159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6B4C4A0-DFAC-7410-1210-D0E58E299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7813" y="2162002"/>
            <a:ext cx="6924457" cy="312323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B3827F4D-1F88-0037-8E37-64BD09466D63}"/>
              </a:ext>
            </a:extLst>
          </p:cNvPr>
          <p:cNvSpPr txBox="1"/>
          <p:nvPr/>
        </p:nvSpPr>
        <p:spPr>
          <a:xfrm>
            <a:off x="2237902" y="5923661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002E04C0-3ED7-A538-A777-77052EEF7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5" y="242888"/>
            <a:ext cx="10515600" cy="865187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Diferencias en tasa de tratamiento según edad y sexo 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9FA0A5F-7E2D-5B9C-A80B-F37C2AF13D83}"/>
              </a:ext>
            </a:extLst>
          </p:cNvPr>
          <p:cNvSpPr txBox="1"/>
          <p:nvPr/>
        </p:nvSpPr>
        <p:spPr>
          <a:xfrm>
            <a:off x="1265061" y="2162002"/>
            <a:ext cx="298689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análisis por grupos de edad muestra que la </a:t>
            </a:r>
            <a:r>
              <a:rPr lang="es-ES" b="1" dirty="0"/>
              <a:t>mayoría de los pacientes</a:t>
            </a:r>
            <a:r>
              <a:rPr lang="es-ES" dirty="0"/>
              <a:t> tratados tienen </a:t>
            </a:r>
            <a:r>
              <a:rPr lang="es-ES" b="1" dirty="0"/>
              <a:t>más de 65 años</a:t>
            </a:r>
            <a:r>
              <a:rPr lang="es-ES" dirty="0"/>
              <a:t>, tanto hombres como mujeres.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4CDCD24-8BFC-C83F-5DA2-C577F2D9BA35}"/>
              </a:ext>
            </a:extLst>
          </p:cNvPr>
          <p:cNvSpPr txBox="1"/>
          <p:nvPr/>
        </p:nvSpPr>
        <p:spPr>
          <a:xfrm>
            <a:off x="1265061" y="3877648"/>
            <a:ext cx="29868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número de pacientes que reciben tratamiento aumenta con la edad hasta los 85 años, después de lo cual disminuye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E85A059-EEC1-6A01-D7D6-576D9BC19D8D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94AEB4F-696D-1535-749D-47F86E88E5BB}"/>
              </a:ext>
            </a:extLst>
          </p:cNvPr>
          <p:cNvSpPr/>
          <p:nvPr/>
        </p:nvSpPr>
        <p:spPr>
          <a:xfrm>
            <a:off x="5066183" y="2725212"/>
            <a:ext cx="168467" cy="13952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D5BED73B-221D-D2AB-5764-84B658596368}"/>
              </a:ext>
            </a:extLst>
          </p:cNvPr>
          <p:cNvSpPr/>
          <p:nvPr/>
        </p:nvSpPr>
        <p:spPr>
          <a:xfrm>
            <a:off x="5172284" y="4552321"/>
            <a:ext cx="100800" cy="39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3C318779-2564-D47F-8B3F-84467DAD226D}"/>
              </a:ext>
            </a:extLst>
          </p:cNvPr>
          <p:cNvSpPr/>
          <p:nvPr/>
        </p:nvSpPr>
        <p:spPr>
          <a:xfrm>
            <a:off x="5611156" y="4508339"/>
            <a:ext cx="100800" cy="806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7EAC5B6-FCEF-CB43-95F2-A1D4B347A361}"/>
              </a:ext>
            </a:extLst>
          </p:cNvPr>
          <p:cNvSpPr/>
          <p:nvPr/>
        </p:nvSpPr>
        <p:spPr>
          <a:xfrm>
            <a:off x="6052409" y="4415562"/>
            <a:ext cx="100800" cy="17584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A2CDC287-40B9-C16C-DF83-8050A9503CF6}"/>
              </a:ext>
            </a:extLst>
          </p:cNvPr>
          <p:cNvSpPr/>
          <p:nvPr/>
        </p:nvSpPr>
        <p:spPr>
          <a:xfrm>
            <a:off x="6491794" y="4250164"/>
            <a:ext cx="100800" cy="34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8D5B201-FD9E-E501-79DD-DA3F3A7D0C94}"/>
              </a:ext>
            </a:extLst>
          </p:cNvPr>
          <p:cNvSpPr/>
          <p:nvPr/>
        </p:nvSpPr>
        <p:spPr>
          <a:xfrm>
            <a:off x="6933560" y="3965618"/>
            <a:ext cx="104400" cy="626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C2E9AF1B-A246-9239-C19E-5824D64D9763}"/>
              </a:ext>
            </a:extLst>
          </p:cNvPr>
          <p:cNvSpPr/>
          <p:nvPr/>
        </p:nvSpPr>
        <p:spPr>
          <a:xfrm>
            <a:off x="7375326" y="3667117"/>
            <a:ext cx="100800" cy="9252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E5EE021-D4B9-DB5B-6573-29BC2A3D164B}"/>
              </a:ext>
            </a:extLst>
          </p:cNvPr>
          <p:cNvSpPr/>
          <p:nvPr/>
        </p:nvSpPr>
        <p:spPr>
          <a:xfrm>
            <a:off x="7815930" y="3403143"/>
            <a:ext cx="100800" cy="118588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99AC1FED-FBD2-72C7-78DE-F042FDB1C3B4}"/>
              </a:ext>
            </a:extLst>
          </p:cNvPr>
          <p:cNvSpPr/>
          <p:nvPr/>
        </p:nvSpPr>
        <p:spPr>
          <a:xfrm>
            <a:off x="8257832" y="3265657"/>
            <a:ext cx="100800" cy="13233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BAFC122-AF92-5BD2-112B-42A1E8414E53}"/>
              </a:ext>
            </a:extLst>
          </p:cNvPr>
          <p:cNvSpPr/>
          <p:nvPr/>
        </p:nvSpPr>
        <p:spPr>
          <a:xfrm>
            <a:off x="8698949" y="3180116"/>
            <a:ext cx="100800" cy="14089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4E147D8A-FE0F-D2F6-774E-A1F89D52A5E3}"/>
              </a:ext>
            </a:extLst>
          </p:cNvPr>
          <p:cNvSpPr/>
          <p:nvPr/>
        </p:nvSpPr>
        <p:spPr>
          <a:xfrm>
            <a:off x="9144861" y="3194314"/>
            <a:ext cx="100800" cy="13947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5EA6732-9434-57FC-0811-47A550DE4000}"/>
              </a:ext>
            </a:extLst>
          </p:cNvPr>
          <p:cNvSpPr/>
          <p:nvPr/>
        </p:nvSpPr>
        <p:spPr>
          <a:xfrm>
            <a:off x="9578073" y="3239466"/>
            <a:ext cx="100800" cy="13495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EC2962A7-E48F-DC54-399D-794112894D66}"/>
              </a:ext>
            </a:extLst>
          </p:cNvPr>
          <p:cNvSpPr/>
          <p:nvPr/>
        </p:nvSpPr>
        <p:spPr>
          <a:xfrm>
            <a:off x="10022397" y="3436143"/>
            <a:ext cx="100800" cy="1155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813B9E5-E9B4-8B7D-0186-5FDDB42653A1}"/>
              </a:ext>
            </a:extLst>
          </p:cNvPr>
          <p:cNvSpPr/>
          <p:nvPr/>
        </p:nvSpPr>
        <p:spPr>
          <a:xfrm>
            <a:off x="10461959" y="3757614"/>
            <a:ext cx="100800" cy="8314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72ECE7F-6654-D0C6-ACB9-FC7382622976}"/>
              </a:ext>
            </a:extLst>
          </p:cNvPr>
          <p:cNvSpPr/>
          <p:nvPr/>
        </p:nvSpPr>
        <p:spPr>
          <a:xfrm>
            <a:off x="10910252" y="4105277"/>
            <a:ext cx="100800" cy="4837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62124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EDC27-9C5D-FB55-A878-86B999FE9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C92C1F06-586D-36FC-A697-875CB700B8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5192" y="1783092"/>
            <a:ext cx="6904299" cy="348436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70BA0CB0-D45D-DD0E-EFEB-D89285F83DC7}"/>
              </a:ext>
            </a:extLst>
          </p:cNvPr>
          <p:cNvSpPr txBox="1"/>
          <p:nvPr/>
        </p:nvSpPr>
        <p:spPr>
          <a:xfrm>
            <a:off x="2210470" y="6277086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C36C468-8CB4-2EDB-2584-4A20A522A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</p:spPr>
        <p:txBody>
          <a:bodyPr/>
          <a:lstStyle/>
          <a:p>
            <a:pPr algn="ctr"/>
            <a:r>
              <a:rPr lang="es-ES_tradnl" dirty="0"/>
              <a:t>Diferencias en tasa de tratamiento según CCAA</a:t>
            </a:r>
            <a:endParaRPr lang="es-ES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502CF71-BD30-EFED-882B-3ABB5D3BE26B}"/>
              </a:ext>
            </a:extLst>
          </p:cNvPr>
          <p:cNvSpPr txBox="1"/>
          <p:nvPr/>
        </p:nvSpPr>
        <p:spPr>
          <a:xfrm>
            <a:off x="1149300" y="1868619"/>
            <a:ext cx="38158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proporción de individuos tratados en prevención 2ª varió del 53.9% al 87.9% de los pacientes atendidos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78B2F8B-BA1D-7A7C-B177-E30AD71C9715}"/>
              </a:ext>
            </a:extLst>
          </p:cNvPr>
          <p:cNvSpPr txBox="1"/>
          <p:nvPr/>
        </p:nvSpPr>
        <p:spPr>
          <a:xfrm>
            <a:off x="1162385" y="3083434"/>
            <a:ext cx="3802807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</a:t>
            </a:r>
            <a:r>
              <a:rPr lang="es-ES" b="1" dirty="0"/>
              <a:t>tasas de tratamiento más bajas </a:t>
            </a:r>
            <a:r>
              <a:rPr lang="es-ES" dirty="0"/>
              <a:t>s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Rioja (53.3%) 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El País Vasco (67.3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r>
              <a:rPr lang="es-ES" dirty="0"/>
              <a:t>Las </a:t>
            </a:r>
            <a:r>
              <a:rPr lang="es-ES" b="1" dirty="0"/>
              <a:t>tasas de tratamiento más altas </a:t>
            </a:r>
            <a:r>
              <a:rPr lang="es-ES" dirty="0"/>
              <a:t>d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Extremadura (87.9%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stilla la Mancha (85.3%)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4559EA5-159D-8F7B-147D-A50AFC619C17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9466512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6F8E6-048D-8109-784F-8FC08AA416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0813437-B450-19BC-5C87-20AB4F35C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8018" y="2007989"/>
            <a:ext cx="6383495" cy="306693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8143E7D0-6F3B-466F-AA48-EF23D6161D6E}"/>
              </a:ext>
            </a:extLst>
          </p:cNvPr>
          <p:cNvSpPr txBox="1"/>
          <p:nvPr/>
        </p:nvSpPr>
        <p:spPr>
          <a:xfrm>
            <a:off x="2219614" y="5847318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D2BC5CF-09B3-93A0-52ED-0E0CD029A84E}"/>
              </a:ext>
            </a:extLst>
          </p:cNvPr>
          <p:cNvSpPr txBox="1"/>
          <p:nvPr/>
        </p:nvSpPr>
        <p:spPr>
          <a:xfrm>
            <a:off x="1162385" y="2007989"/>
            <a:ext cx="357420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porcentaje de aquellos que recibieron terapia combinada osciló entre el 15.7% y el 36.7%.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C5C4C5C-5A90-EEBB-A1FC-8C0F6A79B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</p:spPr>
        <p:txBody>
          <a:bodyPr/>
          <a:lstStyle/>
          <a:p>
            <a:pPr algn="ctr"/>
            <a:r>
              <a:rPr lang="es-ES_tradnl" dirty="0"/>
              <a:t>Diferencias en tasa de tratamiento según CCAA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3A053D5-57DC-3275-A8E9-A51A52D8B9DE}"/>
              </a:ext>
            </a:extLst>
          </p:cNvPr>
          <p:cNvSpPr txBox="1"/>
          <p:nvPr/>
        </p:nvSpPr>
        <p:spPr>
          <a:xfrm>
            <a:off x="1162385" y="3083434"/>
            <a:ext cx="357420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</a:t>
            </a:r>
            <a:r>
              <a:rPr lang="es-ES" b="1" dirty="0"/>
              <a:t>tasas de tratamiento más bajas </a:t>
            </a:r>
            <a:r>
              <a:rPr lang="es-ES" dirty="0"/>
              <a:t>s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taluña (15.8%) 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Valencia (23.7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r>
              <a:rPr lang="es-ES" dirty="0"/>
              <a:t>Las </a:t>
            </a:r>
            <a:r>
              <a:rPr lang="es-ES" b="1" dirty="0"/>
              <a:t>tasas de tratamiento más altas </a:t>
            </a:r>
            <a:r>
              <a:rPr lang="es-ES" dirty="0"/>
              <a:t>d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ntabria (36.7%)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BCB2CE4-F815-7B3D-BBD9-6004522C9A36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3904862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03F2D2-AE2A-66C0-F80D-34696B999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EDEF6CB1-FE47-A8B4-0BBA-E7B65E0CEB8C}"/>
              </a:ext>
            </a:extLst>
          </p:cNvPr>
          <p:cNvSpPr txBox="1"/>
          <p:nvPr/>
        </p:nvSpPr>
        <p:spPr>
          <a:xfrm>
            <a:off x="2084782" y="6200247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09FD4AE-5463-4398-1059-ECD40A6E3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</p:spPr>
        <p:txBody>
          <a:bodyPr>
            <a:normAutofit fontScale="90000"/>
          </a:bodyPr>
          <a:lstStyle/>
          <a:p>
            <a:pPr algn="ctr"/>
            <a:r>
              <a:rPr lang="es-ES_tradnl" dirty="0"/>
              <a:t>Diferencias en tasa de tratamiento según enfermedad previa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F28F508-697C-EE76-199E-B1CE1133EB1F}"/>
              </a:ext>
            </a:extLst>
          </p:cNvPr>
          <p:cNvSpPr txBox="1"/>
          <p:nvPr/>
        </p:nvSpPr>
        <p:spPr>
          <a:xfrm>
            <a:off x="1290876" y="1268421"/>
            <a:ext cx="95911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La enfermedad cardíaca isquémica fue la condición más prevalente, representando al grupo más propenso a recibir tanto terapia hipolipemiante en general como terapia combinada específicamente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8ABDD9F-4460-BA0D-82CD-1C5CE9B48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4782" y="2487735"/>
            <a:ext cx="3640362" cy="213362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21CFDB2-670B-0B8F-D582-0CADB4EEDA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2249" y="2165492"/>
            <a:ext cx="4667538" cy="322243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504B6F5E-8BE5-347B-3259-4634D1429945}"/>
              </a:ext>
            </a:extLst>
          </p:cNvPr>
          <p:cNvSpPr txBox="1"/>
          <p:nvPr/>
        </p:nvSpPr>
        <p:spPr>
          <a:xfrm>
            <a:off x="1698766" y="4854962"/>
            <a:ext cx="396137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sz="1400" dirty="0"/>
              <a:t>El porcentaje de pacientes recibiendo </a:t>
            </a:r>
            <a:r>
              <a:rPr lang="es-ES" sz="1400" dirty="0" err="1"/>
              <a:t>tto</a:t>
            </a:r>
            <a:r>
              <a:rPr lang="es-ES" sz="1400" dirty="0"/>
              <a:t> hipolipemiante según patología son:</a:t>
            </a:r>
          </a:p>
          <a:p>
            <a:pPr marL="285750" indent="-285750" algn="just">
              <a:buFontTx/>
              <a:buChar char="-"/>
            </a:pPr>
            <a:r>
              <a:rPr lang="es-ES" sz="1400" dirty="0"/>
              <a:t>enfermedad cardíaca isquémica (82.1%), </a:t>
            </a:r>
          </a:p>
          <a:p>
            <a:pPr marL="285750" indent="-285750" algn="just">
              <a:buFontTx/>
              <a:buChar char="-"/>
            </a:pPr>
            <a:r>
              <a:rPr lang="es-ES" sz="1400" dirty="0"/>
              <a:t>ictus (64.2%) </a:t>
            </a:r>
          </a:p>
          <a:p>
            <a:pPr marL="285750" indent="-285750" algn="just">
              <a:buFontTx/>
              <a:buChar char="-"/>
            </a:pPr>
            <a:r>
              <a:rPr lang="es-ES" sz="1400" dirty="0"/>
              <a:t>enfermedad arterial periférica (56.7%)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A2F0726-D5C0-32B0-9A1C-8D50412BC03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8463" t="3316" r="22277" b="28920"/>
          <a:stretch>
            <a:fillRect/>
          </a:stretch>
        </p:blipFill>
        <p:spPr>
          <a:xfrm>
            <a:off x="7212004" y="2471658"/>
            <a:ext cx="3142102" cy="2817549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22AB679C-6A16-4220-F6FC-53633960096F}"/>
              </a:ext>
            </a:extLst>
          </p:cNvPr>
          <p:cNvGrpSpPr/>
          <p:nvPr/>
        </p:nvGrpSpPr>
        <p:grpSpPr>
          <a:xfrm>
            <a:off x="6691066" y="2113294"/>
            <a:ext cx="4191000" cy="358364"/>
            <a:chOff x="1286256" y="4029198"/>
            <a:chExt cx="4873752" cy="405642"/>
          </a:xfrm>
        </p:grpSpPr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597153BB-16F1-3451-EDFF-AE430CE35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88701" r="38019" b="5813"/>
            <a:stretch>
              <a:fillRect/>
            </a:stretch>
          </p:blipFill>
          <p:spPr>
            <a:xfrm>
              <a:off x="1295472" y="4275336"/>
              <a:ext cx="3468552" cy="159504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9B2FBB7D-E0C5-3F91-BA0F-E27033D06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79519" r="68246" b="10932"/>
            <a:stretch>
              <a:fillRect/>
            </a:stretch>
          </p:blipFill>
          <p:spPr>
            <a:xfrm>
              <a:off x="1286256" y="4029198"/>
              <a:ext cx="1776984" cy="277626"/>
            </a:xfrm>
            <a:prstGeom prst="rect">
              <a:avLst/>
            </a:prstGeom>
          </p:spPr>
        </p:pic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0B62429F-E538-616B-2026-1E181FA01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44499" t="79519" b="12015"/>
            <a:stretch>
              <a:fillRect/>
            </a:stretch>
          </p:blipFill>
          <p:spPr>
            <a:xfrm>
              <a:off x="3054096" y="4029198"/>
              <a:ext cx="3105912" cy="246138"/>
            </a:xfrm>
            <a:prstGeom prst="rect">
              <a:avLst/>
            </a:prstGeom>
          </p:spPr>
        </p:pic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CCC07EF-4303-3E00-1047-D4DB7BD4323F}"/>
              </a:ext>
            </a:extLst>
          </p:cNvPr>
          <p:cNvSpPr txBox="1"/>
          <p:nvPr/>
        </p:nvSpPr>
        <p:spPr>
          <a:xfrm>
            <a:off x="6698991" y="5325549"/>
            <a:ext cx="438781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Los pacientes con enfermedad cardíaca isquémica también tenían más probabilidades de recibir terapia combinada para la reducción de lípidos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AC73F90-8885-3378-DA5E-D0A03BF6B3B2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11651732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DD2F8BB1-5832-7FC0-B32E-B8DFABB0D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966" y="1731784"/>
            <a:ext cx="4063368" cy="284737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9B33CBA3-674B-371D-A541-7CEE60220903}"/>
              </a:ext>
            </a:extLst>
          </p:cNvPr>
          <p:cNvSpPr txBox="1"/>
          <p:nvPr/>
        </p:nvSpPr>
        <p:spPr>
          <a:xfrm>
            <a:off x="2210470" y="6277086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3EBF30D-C82E-C800-4B90-628F77E12922}"/>
              </a:ext>
            </a:extLst>
          </p:cNvPr>
          <p:cNvSpPr txBox="1"/>
          <p:nvPr/>
        </p:nvSpPr>
        <p:spPr>
          <a:xfrm>
            <a:off x="990598" y="4830632"/>
            <a:ext cx="46786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En relación con los niveles de </a:t>
            </a:r>
            <a:r>
              <a:rPr lang="es-ES" dirty="0" err="1"/>
              <a:t>cLDL</a:t>
            </a:r>
            <a:r>
              <a:rPr lang="es-ES" dirty="0"/>
              <a:t>, solo el 33.7% logró niveles &lt;70 mg/</a:t>
            </a:r>
            <a:r>
              <a:rPr lang="es-ES" dirty="0" err="1"/>
              <a:t>dL</a:t>
            </a:r>
            <a:r>
              <a:rPr lang="es-ES" dirty="0"/>
              <a:t> en 2023, mientras que el 65.6% alcanzó niveles &lt;100mg/</a:t>
            </a:r>
            <a:r>
              <a:rPr lang="es-ES" dirty="0" err="1"/>
              <a:t>dL</a:t>
            </a:r>
            <a:r>
              <a:rPr lang="es-ES" dirty="0"/>
              <a:t>.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6AB473D2-7C36-B4EE-ACEF-8DC2A1D0A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Grado de control del colesterol LDL</a:t>
            </a:r>
            <a:endParaRPr lang="es-E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1857D94-9A9D-828B-E41A-A68CEDA821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1343" y="1818283"/>
            <a:ext cx="4468033" cy="278171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58A13257-E4CC-804A-733D-64837D9E8A9B}"/>
              </a:ext>
            </a:extLst>
          </p:cNvPr>
          <p:cNvSpPr txBox="1"/>
          <p:nvPr/>
        </p:nvSpPr>
        <p:spPr>
          <a:xfrm>
            <a:off x="6096000" y="4799951"/>
            <a:ext cx="510540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Una proporción significativamente mayor de pacientes en terapia combinada logró niveles de LDL-C &lt;70 mg/</a:t>
            </a:r>
            <a:r>
              <a:rPr lang="es-ES" dirty="0" err="1"/>
              <a:t>dL</a:t>
            </a:r>
            <a:r>
              <a:rPr lang="es-ES" dirty="0"/>
              <a:t> (58.6% frente a 36.7%) y &lt;100 mg/</a:t>
            </a:r>
            <a:r>
              <a:rPr lang="es-ES" dirty="0" err="1"/>
              <a:t>dL</a:t>
            </a:r>
            <a:r>
              <a:rPr lang="es-ES" dirty="0"/>
              <a:t> (84.3% frente a 72.8%) en comparación con monoterapia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E3CFC8A-F7D7-CB61-027B-A69BDE72DDF4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3448737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4E47C462-9698-AA03-F082-65BC8E02E6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8295" y="1860239"/>
            <a:ext cx="6665976" cy="3628107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914D1E2-B1DB-E453-F29A-15151E8016EA}"/>
              </a:ext>
            </a:extLst>
          </p:cNvPr>
          <p:cNvSpPr txBox="1"/>
          <p:nvPr/>
        </p:nvSpPr>
        <p:spPr>
          <a:xfrm>
            <a:off x="2201326" y="5868168"/>
            <a:ext cx="80033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García-Villarino, M.; Lambert, C.; et al. </a:t>
            </a:r>
            <a:r>
              <a:rPr lang="es-ES" dirty="0" err="1"/>
              <a:t>Lipid</a:t>
            </a:r>
            <a:r>
              <a:rPr lang="es-ES" dirty="0"/>
              <a:t> </a:t>
            </a:r>
            <a:r>
              <a:rPr lang="es-ES" dirty="0" err="1"/>
              <a:t>Profile</a:t>
            </a:r>
            <a:r>
              <a:rPr lang="es-ES" dirty="0"/>
              <a:t> Management in </a:t>
            </a:r>
            <a:r>
              <a:rPr lang="es-ES" dirty="0" err="1"/>
              <a:t>Secondary</a:t>
            </a:r>
            <a:r>
              <a:rPr lang="es-ES" dirty="0"/>
              <a:t> </a:t>
            </a:r>
            <a:r>
              <a:rPr lang="es-ES" dirty="0" err="1"/>
              <a:t>Prevention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: Data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BDCAP </a:t>
            </a:r>
            <a:r>
              <a:rPr lang="es-ES" dirty="0" err="1"/>
              <a:t>Registry</a:t>
            </a:r>
            <a:r>
              <a:rPr lang="es-ES" dirty="0"/>
              <a:t> in </a:t>
            </a:r>
            <a:r>
              <a:rPr lang="es-ES" dirty="0" err="1"/>
              <a:t>Spain</a:t>
            </a:r>
            <a:r>
              <a:rPr lang="es-ES" dirty="0"/>
              <a:t> (LIPIDSPAIN). J. Clin. </a:t>
            </a:r>
            <a:r>
              <a:rPr lang="es-ES" dirty="0" err="1"/>
              <a:t>Med</a:t>
            </a:r>
            <a:r>
              <a:rPr lang="es-ES" dirty="0"/>
              <a:t>. 2025, 14, 6037. https://doi.org/10.3390/jcm14176037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2A16B917-2533-6EC3-C5D0-A87B30341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Grado de control del colesterol LDL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B590580-DCA6-0204-69C1-7AD210DE19E8}"/>
              </a:ext>
            </a:extLst>
          </p:cNvPr>
          <p:cNvSpPr txBox="1"/>
          <p:nvPr/>
        </p:nvSpPr>
        <p:spPr>
          <a:xfrm>
            <a:off x="1091182" y="3027771"/>
            <a:ext cx="33173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Mayor nivel de control se alcanzó en los hombres en comparación con las mujeres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974B969-8AF5-8E63-2373-7D29F20AED99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3634277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7DD4-0651-5166-4B13-F138840F73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40D7890-361F-2889-6EF2-48FBF0CF6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40D7890-361F-2889-6EF2-48FBF0CF6C7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7ADF2-8805-54AA-7CEF-0E57DD3A66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01519A1E-83C6-B9E2-BDAD-8764D6B34F7F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74B9C910-DDFA-93F5-309E-25E1A71EB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A10F938-D29C-B560-59C2-2873080ADC0F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63936239-7180-4B6D-4190-C90F153462A9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74E78F67-5705-7B67-6D37-9DC82956BC25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464D680D-F7DB-E3ED-65DF-21B2F5DAD146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1BBE438-5488-1C60-8822-5E7B995B630E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E688CA66-604C-A588-EEC1-6B4E92A2C1BC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AFB501A7-CC31-2715-EACA-CE815B1F05DC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F5F5F881-A036-E714-A6E2-A415E69154C5}"/>
              </a:ext>
            </a:extLst>
          </p:cNvPr>
          <p:cNvSpPr txBox="1"/>
          <p:nvPr/>
        </p:nvSpPr>
        <p:spPr>
          <a:xfrm>
            <a:off x="990541" y="2561571"/>
            <a:ext cx="737584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200" dirty="0">
                <a:solidFill>
                  <a:schemeClr val="bg1"/>
                </a:solidFill>
              </a:rPr>
              <a:t>Use of Lipid-Lowering Treatment in Diabetic Patients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2B09438-4045-C54A-A630-3FD917F631A5}"/>
              </a:ext>
            </a:extLst>
          </p:cNvPr>
          <p:cNvSpPr txBox="1"/>
          <p:nvPr/>
        </p:nvSpPr>
        <p:spPr>
          <a:xfrm>
            <a:off x="1708658" y="4872850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Menéndez-Torre E, et al. </a:t>
            </a:r>
            <a:r>
              <a:rPr lang="es-ES" dirty="0" err="1"/>
              <a:t>Lipid-Lowering</a:t>
            </a:r>
            <a:r>
              <a:rPr lang="es-ES" dirty="0"/>
              <a:t> </a:t>
            </a:r>
            <a:r>
              <a:rPr lang="es-ES" dirty="0" err="1"/>
              <a:t>Treatment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Diabetes in </a:t>
            </a:r>
            <a:r>
              <a:rPr lang="es-ES" dirty="0" err="1"/>
              <a:t>Spain</a:t>
            </a:r>
            <a:r>
              <a:rPr lang="es-ES" dirty="0"/>
              <a:t>. Diabetes 2025;74(Supplement_1):1306-P https://doi.org/10.2337/db25-1306-P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D629DFC-5CEE-33D0-4B5D-7363022CDF67}"/>
              </a:ext>
            </a:extLst>
          </p:cNvPr>
          <p:cNvSpPr txBox="1"/>
          <p:nvPr/>
        </p:nvSpPr>
        <p:spPr>
          <a:xfrm>
            <a:off x="3218395" y="6545535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5A54F53-BCD6-C3EE-380F-3A9E6B5CA2FA}"/>
              </a:ext>
            </a:extLst>
          </p:cNvPr>
          <p:cNvSpPr txBox="1"/>
          <p:nvPr/>
        </p:nvSpPr>
        <p:spPr>
          <a:xfrm>
            <a:off x="640012" y="6095505"/>
            <a:ext cx="279505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chemeClr val="bg1"/>
                </a:solidFill>
              </a:rPr>
              <a:t>Fecha de elaboración: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40502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7C3215-3E91-4E96-05E5-6F9A629B1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D3A6CFD4-2D16-38A2-A768-2A3256931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Objetivo: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5432285-2F16-CF0D-0074-EA98D802B1A8}"/>
              </a:ext>
            </a:extLst>
          </p:cNvPr>
          <p:cNvSpPr txBox="1"/>
          <p:nvPr/>
        </p:nvSpPr>
        <p:spPr>
          <a:xfrm>
            <a:off x="1089275" y="1587912"/>
            <a:ext cx="99943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>
                <a:solidFill>
                  <a:schemeClr val="accent1"/>
                </a:solidFill>
              </a:rPr>
              <a:t>Este estudio analiza las tendencias de prescripción de tratamientos hipolipemiantes en España en 2019 y 2023, evaluando las diferencias temporales, demográficas y regionales.</a:t>
            </a:r>
          </a:p>
        </p:txBody>
      </p:sp>
      <p:sp>
        <p:nvSpPr>
          <p:cNvPr id="11" name="Título 6">
            <a:extLst>
              <a:ext uri="{FF2B5EF4-FFF2-40B4-BE49-F238E27FC236}">
                <a16:creationId xmlns:a16="http://schemas.microsoft.com/office/drawing/2014/main" id="{5F646682-FA56-0A02-24BA-E5AD875BA37E}"/>
              </a:ext>
            </a:extLst>
          </p:cNvPr>
          <p:cNvSpPr txBox="1">
            <a:spLocks/>
          </p:cNvSpPr>
          <p:nvPr/>
        </p:nvSpPr>
        <p:spPr>
          <a:xfrm>
            <a:off x="828671" y="3064910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Métodos:</a:t>
            </a:r>
            <a:endParaRPr lang="es-ES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097FE69-E1B5-A50B-AF5A-22E99F3A011E}"/>
              </a:ext>
            </a:extLst>
          </p:cNvPr>
          <p:cNvSpPr txBox="1"/>
          <p:nvPr/>
        </p:nvSpPr>
        <p:spPr>
          <a:xfrm>
            <a:off x="1041461" y="4330620"/>
            <a:ext cx="1014831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Estudio observacional retrospect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Registro BDCAP: Base de Datos Clínica de Atención Prima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Análisis de prescripciones para prevención primaria por edad, sexo, CCAA y estado de emp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>
                <a:solidFill>
                  <a:schemeClr val="accent1"/>
                </a:solidFill>
              </a:rPr>
              <a:t>Análisis monoterapia vs terapia combinada</a:t>
            </a:r>
            <a:endParaRPr lang="es-ES" dirty="0">
              <a:solidFill>
                <a:schemeClr val="accent1"/>
              </a:solidFill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D9CE6A64-06B3-F979-B466-927EED914E90}"/>
              </a:ext>
            </a:extLst>
          </p:cNvPr>
          <p:cNvCxnSpPr/>
          <p:nvPr/>
        </p:nvCxnSpPr>
        <p:spPr>
          <a:xfrm>
            <a:off x="901823" y="3867912"/>
            <a:ext cx="104275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D600550-90F3-D6F3-4BF4-EA3205917B24}"/>
              </a:ext>
            </a:extLst>
          </p:cNvPr>
          <p:cNvSpPr txBox="1"/>
          <p:nvPr/>
        </p:nvSpPr>
        <p:spPr>
          <a:xfrm>
            <a:off x="3044190" y="6184653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2B7557F-CF90-BE37-7C8C-2BA9C987B68E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19781543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90F80E0E-45B5-CD88-B7C6-9CACBD1976FE}"/>
              </a:ext>
            </a:extLst>
          </p:cNvPr>
          <p:cNvSpPr txBox="1"/>
          <p:nvPr/>
        </p:nvSpPr>
        <p:spPr>
          <a:xfrm>
            <a:off x="2978658" y="6279909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Menéndez-Torre E, et al. </a:t>
            </a:r>
            <a:r>
              <a:rPr lang="es-ES" dirty="0" err="1"/>
              <a:t>Lipid-Lowering</a:t>
            </a:r>
            <a:r>
              <a:rPr lang="es-ES" dirty="0"/>
              <a:t> </a:t>
            </a:r>
            <a:r>
              <a:rPr lang="es-ES" dirty="0" err="1"/>
              <a:t>Treatment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Diabetes in </a:t>
            </a:r>
            <a:r>
              <a:rPr lang="es-ES" dirty="0" err="1"/>
              <a:t>Spain</a:t>
            </a:r>
            <a:r>
              <a:rPr lang="es-ES" dirty="0"/>
              <a:t>. Diabetes 2025;74(Supplement_1):1306-P https://doi.org/10.2337/db25-1306-P</a:t>
            </a: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41CF08C6-55D8-2094-3B58-1C3F968EE25F}"/>
              </a:ext>
            </a:extLst>
          </p:cNvPr>
          <p:cNvSpPr txBox="1">
            <a:spLocks/>
          </p:cNvSpPr>
          <p:nvPr/>
        </p:nvSpPr>
        <p:spPr>
          <a:xfrm>
            <a:off x="828671" y="461745"/>
            <a:ext cx="10515600" cy="64633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Objetivo: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75ABCDE-DFF0-2FC4-C2C2-27F7765A9ED9}"/>
              </a:ext>
            </a:extLst>
          </p:cNvPr>
          <p:cNvSpPr txBox="1"/>
          <p:nvPr/>
        </p:nvSpPr>
        <p:spPr>
          <a:xfrm>
            <a:off x="1089275" y="1587912"/>
            <a:ext cx="99943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>
                <a:solidFill>
                  <a:schemeClr val="accent1"/>
                </a:solidFill>
              </a:rPr>
              <a:t>Analizar la prescripción de medicamentos para la disminución de lípidos en pacientes con diabetes en España y los niveles de colesterol LDL alcanzados entre 2018 y 2023.</a:t>
            </a:r>
          </a:p>
        </p:txBody>
      </p:sp>
      <p:sp>
        <p:nvSpPr>
          <p:cNvPr id="9" name="Título 6">
            <a:extLst>
              <a:ext uri="{FF2B5EF4-FFF2-40B4-BE49-F238E27FC236}">
                <a16:creationId xmlns:a16="http://schemas.microsoft.com/office/drawing/2014/main" id="{65BAD1D6-0357-66E4-0BC5-CF3CF892216B}"/>
              </a:ext>
            </a:extLst>
          </p:cNvPr>
          <p:cNvSpPr txBox="1">
            <a:spLocks/>
          </p:cNvSpPr>
          <p:nvPr/>
        </p:nvSpPr>
        <p:spPr>
          <a:xfrm>
            <a:off x="828671" y="3064910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Métodos: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A37CCA7-0173-920A-B2BD-A210462612F6}"/>
              </a:ext>
            </a:extLst>
          </p:cNvPr>
          <p:cNvSpPr txBox="1"/>
          <p:nvPr/>
        </p:nvSpPr>
        <p:spPr>
          <a:xfrm>
            <a:off x="1041461" y="4330620"/>
            <a:ext cx="1014831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1"/>
                </a:solidFill>
              </a:rPr>
              <a:t>Un análisis retrospectivo de las prescripciones para la reducción de lípidos y los niveles de LDL-c en pacientes con diabetes categorizados por sex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1"/>
                </a:solidFill>
              </a:rPr>
              <a:t>Datos de la BDCAP (Base de Datos Clínicos de Atención Primaria)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42FDE70-6A45-53E5-0BC7-EFD752F2B6C6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1871275008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5EC1C-89EF-33E2-7371-C19252D90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332467A1-9BC2-9CCB-0F41-5B42D55F725C}"/>
              </a:ext>
            </a:extLst>
          </p:cNvPr>
          <p:cNvSpPr txBox="1"/>
          <p:nvPr/>
        </p:nvSpPr>
        <p:spPr>
          <a:xfrm>
            <a:off x="2896362" y="6120280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Menéndez-Torre E, et al. </a:t>
            </a:r>
            <a:r>
              <a:rPr lang="es-ES" dirty="0" err="1"/>
              <a:t>Lipid-Lowering</a:t>
            </a:r>
            <a:r>
              <a:rPr lang="es-ES" dirty="0"/>
              <a:t> </a:t>
            </a:r>
            <a:r>
              <a:rPr lang="es-ES" dirty="0" err="1"/>
              <a:t>Treatment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Diabetes in </a:t>
            </a:r>
            <a:r>
              <a:rPr lang="es-ES" dirty="0" err="1"/>
              <a:t>Spain</a:t>
            </a:r>
            <a:r>
              <a:rPr lang="es-ES" dirty="0"/>
              <a:t>. Diabetes 2025;74(Supplement_1):1306-P https://doi.org/10.2337/db25-1306-P</a:t>
            </a:r>
          </a:p>
        </p:txBody>
      </p:sp>
      <p:pic>
        <p:nvPicPr>
          <p:cNvPr id="2" name="New picture">
            <a:extLst>
              <a:ext uri="{FF2B5EF4-FFF2-40B4-BE49-F238E27FC236}">
                <a16:creationId xmlns:a16="http://schemas.microsoft.com/office/drawing/2014/main" id="{7A27B6DB-9C36-7521-5430-B651F55E1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00" y="2418561"/>
            <a:ext cx="6661171" cy="292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5" name="Título 6">
            <a:extLst>
              <a:ext uri="{FF2B5EF4-FFF2-40B4-BE49-F238E27FC236}">
                <a16:creationId xmlns:a16="http://schemas.microsoft.com/office/drawing/2014/main" id="{8CAE20BD-C02F-9595-B636-04353A236B59}"/>
              </a:ext>
            </a:extLst>
          </p:cNvPr>
          <p:cNvSpPr txBox="1">
            <a:spLocks/>
          </p:cNvSpPr>
          <p:nvPr/>
        </p:nvSpPr>
        <p:spPr>
          <a:xfrm>
            <a:off x="828671" y="461745"/>
            <a:ext cx="10515600" cy="64633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Resultados: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6011E82-26B0-D8D0-86A0-6546B5989601}"/>
              </a:ext>
            </a:extLst>
          </p:cNvPr>
          <p:cNvSpPr txBox="1"/>
          <p:nvPr/>
        </p:nvSpPr>
        <p:spPr>
          <a:xfrm>
            <a:off x="930402" y="2418561"/>
            <a:ext cx="333984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2023, el 63% de las personas con diabetes fueron tratadas con medicamentos hipolipemiantes, el 64.1% de los hombres y el 61.7% de las mujeres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79C628A-25FB-C2EB-04DF-C2D485603BDF}"/>
              </a:ext>
            </a:extLst>
          </p:cNvPr>
          <p:cNvSpPr txBox="1"/>
          <p:nvPr/>
        </p:nvSpPr>
        <p:spPr>
          <a:xfrm>
            <a:off x="930402" y="4169795"/>
            <a:ext cx="333984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olo el 67% de los pacientes alcanzó LDL&lt;100 mg/</a:t>
            </a:r>
            <a:r>
              <a:rPr lang="es-ES" dirty="0" err="1"/>
              <a:t>dL</a:t>
            </a:r>
            <a:r>
              <a:rPr lang="es-ES" dirty="0"/>
              <a:t>, 71.6% de los hombres y 62.3% de las mujeres,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EC582D2-18DF-57AC-9AF5-AD36D34254E5}"/>
              </a:ext>
            </a:extLst>
          </p:cNvPr>
          <p:cNvSpPr txBox="1"/>
          <p:nvPr/>
        </p:nvSpPr>
        <p:spPr>
          <a:xfrm>
            <a:off x="930402" y="1594756"/>
            <a:ext cx="104138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Aumenta el número de pacientes diabéticos que reciben tratamiento hipolipemiante entre el 2018 y el 2023, pero no mejora el grado de control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326E0C8-AAC4-A2AF-9748-997CEEFDBDD4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1595240819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8A83B03-2313-ABAD-E040-96D18D5D06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3430" y="1493008"/>
            <a:ext cx="6988370" cy="4672559"/>
          </a:xfrm>
          <a:prstGeom prst="rect">
            <a:avLst/>
          </a:prstGeom>
        </p:spPr>
      </p:pic>
      <p:sp>
        <p:nvSpPr>
          <p:cNvPr id="4" name="Título 6">
            <a:extLst>
              <a:ext uri="{FF2B5EF4-FFF2-40B4-BE49-F238E27FC236}">
                <a16:creationId xmlns:a16="http://schemas.microsoft.com/office/drawing/2014/main" id="{5924F878-C2F3-2641-144F-DBFE54E73572}"/>
              </a:ext>
            </a:extLst>
          </p:cNvPr>
          <p:cNvSpPr txBox="1">
            <a:spLocks/>
          </p:cNvSpPr>
          <p:nvPr/>
        </p:nvSpPr>
        <p:spPr>
          <a:xfrm>
            <a:off x="749615" y="224001"/>
            <a:ext cx="10692769" cy="64633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2025 Focused Update of the 2019 ESC/EAS Guidelines for the management of dyslipidemias</a:t>
            </a:r>
            <a:endParaRPr lang="es-ES" dirty="0"/>
          </a:p>
        </p:txBody>
      </p: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F8AC9CC8-93B5-616F-A0A4-8B0C24EB33EA}"/>
              </a:ext>
            </a:extLst>
          </p:cNvPr>
          <p:cNvCxnSpPr/>
          <p:nvPr/>
        </p:nvCxnSpPr>
        <p:spPr>
          <a:xfrm flipH="1">
            <a:off x="8961950" y="2875280"/>
            <a:ext cx="594360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030BF911-6D96-DB32-76C2-04118F3EE9A6}"/>
              </a:ext>
            </a:extLst>
          </p:cNvPr>
          <p:cNvCxnSpPr/>
          <p:nvPr/>
        </p:nvCxnSpPr>
        <p:spPr>
          <a:xfrm flipH="1">
            <a:off x="9024620" y="3829287"/>
            <a:ext cx="594360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CAB6DB13-9B17-2F01-3AE3-2BAADF8E4085}"/>
              </a:ext>
            </a:extLst>
          </p:cNvPr>
          <p:cNvCxnSpPr>
            <a:cxnSpLocks/>
          </p:cNvCxnSpPr>
          <p:nvPr/>
        </p:nvCxnSpPr>
        <p:spPr>
          <a:xfrm>
            <a:off x="4651247" y="2173224"/>
            <a:ext cx="444569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1CF4A853-D6C3-1E31-EFE8-EB6A58EB61D3}"/>
              </a:ext>
            </a:extLst>
          </p:cNvPr>
          <p:cNvSpPr txBox="1"/>
          <p:nvPr/>
        </p:nvSpPr>
        <p:spPr>
          <a:xfrm>
            <a:off x="1870074" y="6274324"/>
            <a:ext cx="84518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/>
              <a:t>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BF187CF-732A-038B-FD89-17D82C61E16E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0C1ECF3-288C-C873-22B9-9253706C0FF8}"/>
              </a:ext>
            </a:extLst>
          </p:cNvPr>
          <p:cNvSpPr txBox="1"/>
          <p:nvPr/>
        </p:nvSpPr>
        <p:spPr>
          <a:xfrm>
            <a:off x="3916265" y="6004502"/>
            <a:ext cx="38227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sz="800" dirty="0" err="1"/>
              <a:t>Eur</a:t>
            </a:r>
            <a:r>
              <a:rPr lang="en-US" sz="800" dirty="0"/>
              <a:t> Heart J. 2025 Aug 29:ehaf190.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1176754351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C98330-B546-E349-AA3C-FE8D92607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5B891832-A826-4A01-9FF1-371F2D372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5B891832-A826-4A01-9FF1-371F2D3721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5E33A7-0C70-1F0B-06F3-F92825F980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B8A05B8B-C58D-15BF-27D7-E95189F1C7F0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9BD1FABA-04F8-0E3F-B034-E28611F76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01A3AD4A-7A41-63F7-109E-C6563C4A4E51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FCD21588-2B8B-2B99-65FF-A8ACDF670134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1422A1A8-BD31-3B18-D74F-BB29FDF08A6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06E84BBD-D8A4-099F-FEE2-7E3915FA89BF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73B8DDEB-0122-4C40-EE4C-2F0BF025B94C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894E4378-563D-66A9-1D21-2165C7E73910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14EC7C39-2B72-2190-E00B-0376BF535577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11F7C141-3BFB-00E3-98E6-99CF29C1D07E}"/>
              </a:ext>
            </a:extLst>
          </p:cNvPr>
          <p:cNvSpPr txBox="1"/>
          <p:nvPr/>
        </p:nvSpPr>
        <p:spPr>
          <a:xfrm>
            <a:off x="845067" y="3328710"/>
            <a:ext cx="73758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600" dirty="0" err="1">
                <a:solidFill>
                  <a:schemeClr val="bg1"/>
                </a:solidFill>
              </a:rPr>
              <a:t>Muchas</a:t>
            </a:r>
            <a:r>
              <a:rPr lang="en-US" sz="3600" dirty="0">
                <a:solidFill>
                  <a:schemeClr val="bg1"/>
                </a:solidFill>
              </a:rPr>
              <a:t> gracias</a:t>
            </a:r>
            <a:endParaRPr kumimoji="0" lang="es-E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E29F4BE-2E4D-FA83-C442-6D64556258DC}"/>
              </a:ext>
            </a:extLst>
          </p:cNvPr>
          <p:cNvSpPr txBox="1"/>
          <p:nvPr/>
        </p:nvSpPr>
        <p:spPr>
          <a:xfrm>
            <a:off x="3218395" y="6545535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200773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587A32-AD8F-C2C2-4A3D-1A6562150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242255"/>
            <a:ext cx="11646569" cy="865821"/>
          </a:xfrm>
        </p:spPr>
        <p:txBody>
          <a:bodyPr>
            <a:normAutofit fontScale="90000"/>
          </a:bodyPr>
          <a:lstStyle/>
          <a:p>
            <a:pPr algn="ctr"/>
            <a:r>
              <a:rPr lang="es-ES_tradnl" dirty="0"/>
              <a:t>Diferencias en tasa de </a:t>
            </a:r>
            <a:r>
              <a:rPr lang="es-ES_tradnl" dirty="0" err="1"/>
              <a:t>tto</a:t>
            </a:r>
            <a:r>
              <a:rPr lang="es-ES_tradnl" dirty="0"/>
              <a:t> según tamaño municipal y estado de empleo</a:t>
            </a:r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43574CE-8D68-6FD9-8FBA-A33D3250E7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1168" y="1454037"/>
            <a:ext cx="5893103" cy="440712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60243A3-A04B-F1D8-E878-AF3749163B73}"/>
              </a:ext>
            </a:extLst>
          </p:cNvPr>
          <p:cNvSpPr txBox="1"/>
          <p:nvPr/>
        </p:nvSpPr>
        <p:spPr>
          <a:xfrm>
            <a:off x="1021842" y="1789099"/>
            <a:ext cx="42085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Un total de 5,807,868 individuos fueron tratados con </a:t>
            </a:r>
            <a:r>
              <a:rPr lang="es-ES" sz="1400" dirty="0" err="1">
                <a:solidFill>
                  <a:schemeClr val="accent1"/>
                </a:solidFill>
              </a:rPr>
              <a:t>ttos</a:t>
            </a:r>
            <a:r>
              <a:rPr lang="es-ES" sz="1400" dirty="0">
                <a:solidFill>
                  <a:schemeClr val="accent1"/>
                </a:solidFill>
              </a:rPr>
              <a:t> hipolipemiantes en prevención primaria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2B5E1A9-A7E3-BB60-FA0C-BED24D63DC44}"/>
              </a:ext>
            </a:extLst>
          </p:cNvPr>
          <p:cNvSpPr txBox="1"/>
          <p:nvPr/>
        </p:nvSpPr>
        <p:spPr>
          <a:xfrm>
            <a:off x="1021842" y="2866751"/>
            <a:ext cx="414451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datos muestran una variación sustancial en el uso de hipolipemiantes según el tamaño de la población y el estado de empleo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7D4438F-703F-D29C-86BE-472E7E81860D}"/>
              </a:ext>
            </a:extLst>
          </p:cNvPr>
          <p:cNvSpPr txBox="1"/>
          <p:nvPr/>
        </p:nvSpPr>
        <p:spPr>
          <a:xfrm>
            <a:off x="1021842" y="3790295"/>
            <a:ext cx="414451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Los individuos que viven en municipios más pequeños con </a:t>
            </a:r>
            <a:r>
              <a:rPr lang="es-ES" b="1" dirty="0"/>
              <a:t>&lt;10,000 habitantes </a:t>
            </a:r>
            <a:r>
              <a:rPr lang="es-ES" dirty="0"/>
              <a:t>tenían las tasas de tratamiento </a:t>
            </a:r>
            <a:r>
              <a:rPr lang="es-ES" b="1" dirty="0"/>
              <a:t>más alta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2C7ED53-87F5-842E-5454-2C2EF30DEF8A}"/>
              </a:ext>
            </a:extLst>
          </p:cNvPr>
          <p:cNvSpPr txBox="1"/>
          <p:nvPr/>
        </p:nvSpPr>
        <p:spPr>
          <a:xfrm>
            <a:off x="1021842" y="4713839"/>
            <a:ext cx="4144518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Los individuos </a:t>
            </a:r>
            <a:r>
              <a:rPr lang="es-ES" b="1" dirty="0"/>
              <a:t>jubilados</a:t>
            </a:r>
            <a:r>
              <a:rPr lang="es-ES" dirty="0"/>
              <a:t> tenían las tasas </a:t>
            </a:r>
            <a:r>
              <a:rPr lang="es-ES" b="1" dirty="0"/>
              <a:t>más altas</a:t>
            </a:r>
            <a:r>
              <a:rPr lang="es-ES" dirty="0"/>
              <a:t> de uso de </a:t>
            </a:r>
            <a:r>
              <a:rPr lang="es-ES" dirty="0" err="1"/>
              <a:t>tto</a:t>
            </a:r>
            <a:r>
              <a:rPr lang="es-ES" dirty="0"/>
              <a:t> hipolipemiante, mientras que las </a:t>
            </a:r>
            <a:r>
              <a:rPr lang="es-ES" b="1" dirty="0"/>
              <a:t>personas inactivas y aquellas empleadas</a:t>
            </a:r>
            <a:r>
              <a:rPr lang="es-ES" dirty="0"/>
              <a:t> tenían tasas </a:t>
            </a:r>
            <a:r>
              <a:rPr lang="es-ES" b="1" dirty="0"/>
              <a:t>más bajas</a:t>
            </a:r>
            <a:r>
              <a:rPr lang="es-ES" dirty="0"/>
              <a:t>.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23A7EDC-FD22-C0DF-A285-FE965DB6ADA2}"/>
              </a:ext>
            </a:extLst>
          </p:cNvPr>
          <p:cNvSpPr txBox="1"/>
          <p:nvPr/>
        </p:nvSpPr>
        <p:spPr>
          <a:xfrm>
            <a:off x="3044190" y="6184653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0309908-0E53-D7A9-F257-13DA7186698D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513391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42C74-17C5-D4D9-165A-E2E105ECD4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47D007-599A-F940-EB60-7D2A62A19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79" y="242255"/>
            <a:ext cx="10469881" cy="865821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Diferencias en tasa de tratamiento según año 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468F40A-946F-8A33-0737-7117BF7D4B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6685" y="1831938"/>
            <a:ext cx="5366971" cy="374633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CD1AFE22-F223-96C5-B747-B42706B49301}"/>
              </a:ext>
            </a:extLst>
          </p:cNvPr>
          <p:cNvSpPr txBox="1"/>
          <p:nvPr/>
        </p:nvSpPr>
        <p:spPr>
          <a:xfrm>
            <a:off x="966978" y="2672944"/>
            <a:ext cx="420852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Un análisis temporal desde 2019 hasta 2023 reveló:</a:t>
            </a:r>
          </a:p>
          <a:p>
            <a:pPr algn="just"/>
            <a:endParaRPr lang="es-ES" sz="1400" dirty="0">
              <a:solidFill>
                <a:schemeClr val="accent1"/>
              </a:solidFill>
            </a:endParaRPr>
          </a:p>
          <a:p>
            <a:pPr algn="just"/>
            <a:endParaRPr lang="es-ES" sz="1400" dirty="0">
              <a:solidFill>
                <a:schemeClr val="accent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un aumento gradual en el número de individuos que reciben </a:t>
            </a:r>
            <a:r>
              <a:rPr lang="es-ES" sz="1400" dirty="0" err="1">
                <a:solidFill>
                  <a:schemeClr val="accent1"/>
                </a:solidFill>
              </a:rPr>
              <a:t>tto</a:t>
            </a:r>
            <a:r>
              <a:rPr lang="es-ES" sz="1400" dirty="0">
                <a:solidFill>
                  <a:schemeClr val="accent1"/>
                </a:solidFill>
              </a:rPr>
              <a:t> hipolipemiant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un aumento en la dosis diaria definida (DDD), indicando </a:t>
            </a:r>
            <a:r>
              <a:rPr lang="es-ES" sz="1400" b="1" dirty="0">
                <a:solidFill>
                  <a:schemeClr val="accent1"/>
                </a:solidFill>
              </a:rPr>
              <a:t>intensificación</a:t>
            </a:r>
            <a:r>
              <a:rPr lang="es-ES" sz="1400" dirty="0">
                <a:solidFill>
                  <a:schemeClr val="accent1"/>
                </a:solidFill>
              </a:rPr>
              <a:t> de estrategias </a:t>
            </a:r>
            <a:r>
              <a:rPr lang="es-ES" sz="1400" dirty="0" err="1">
                <a:solidFill>
                  <a:schemeClr val="accent1"/>
                </a:solidFill>
              </a:rPr>
              <a:t>tto</a:t>
            </a:r>
            <a:r>
              <a:rPr lang="es-ES" sz="1400" dirty="0">
                <a:solidFill>
                  <a:schemeClr val="accent1"/>
                </a:solidFill>
              </a:rPr>
              <a:t> (aumento en terapia combinada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EEA29BA-7945-92D2-3818-831A2E987045}"/>
              </a:ext>
            </a:extLst>
          </p:cNvPr>
          <p:cNvSpPr txBox="1"/>
          <p:nvPr/>
        </p:nvSpPr>
        <p:spPr>
          <a:xfrm>
            <a:off x="3044190" y="6069083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3061122-3476-9957-6F2B-D4475439C48A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3295927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BED14812-3A67-ED10-7911-00481A3C2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4078" y="1693413"/>
            <a:ext cx="6532062" cy="3756411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2AAE1F8C-02FD-FB0D-1765-310900124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5" y="242888"/>
            <a:ext cx="10515600" cy="865187"/>
          </a:xfrm>
        </p:spPr>
        <p:txBody>
          <a:bodyPr>
            <a:normAutofit/>
          </a:bodyPr>
          <a:lstStyle/>
          <a:p>
            <a:pPr algn="ctr"/>
            <a:r>
              <a:rPr lang="es-ES_tradnl" dirty="0"/>
              <a:t>Diferencias en tasa de tratamiento según edad y sexo 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6701201-261D-F0E4-1251-4D7EEDF1536E}"/>
              </a:ext>
            </a:extLst>
          </p:cNvPr>
          <p:cNvSpPr txBox="1"/>
          <p:nvPr/>
        </p:nvSpPr>
        <p:spPr>
          <a:xfrm>
            <a:off x="925860" y="2417356"/>
            <a:ext cx="380821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mayoría de los pacientes tratados para la prevención primaria tenían </a:t>
            </a:r>
            <a:r>
              <a:rPr lang="es-ES" b="1" dirty="0"/>
              <a:t>más de 60 años de edad</a:t>
            </a:r>
            <a:r>
              <a:rPr lang="es-ES" dirty="0"/>
              <a:t>, con un aumento constante en la prevalencia del </a:t>
            </a:r>
            <a:r>
              <a:rPr lang="es-ES" dirty="0" err="1"/>
              <a:t>tto</a:t>
            </a:r>
            <a:r>
              <a:rPr lang="es-ES" dirty="0"/>
              <a:t> hasta los 80 años de edad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DC970C1-E8A5-364F-38CA-6B6212B6B135}"/>
              </a:ext>
            </a:extLst>
          </p:cNvPr>
          <p:cNvSpPr txBox="1"/>
          <p:nvPr/>
        </p:nvSpPr>
        <p:spPr>
          <a:xfrm>
            <a:off x="925860" y="3763642"/>
            <a:ext cx="373758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porcentaje de </a:t>
            </a:r>
            <a:r>
              <a:rPr lang="es-ES" b="1" dirty="0"/>
              <a:t>hombres</a:t>
            </a:r>
            <a:r>
              <a:rPr lang="es-ES" dirty="0"/>
              <a:t> que reciben </a:t>
            </a:r>
            <a:r>
              <a:rPr lang="es-ES" dirty="0" err="1"/>
              <a:t>tto</a:t>
            </a:r>
            <a:r>
              <a:rPr lang="es-ES" dirty="0"/>
              <a:t> era </a:t>
            </a:r>
            <a:r>
              <a:rPr lang="es-ES" b="1" dirty="0"/>
              <a:t>mayor</a:t>
            </a:r>
            <a:r>
              <a:rPr lang="es-ES" dirty="0"/>
              <a:t> </a:t>
            </a:r>
            <a:r>
              <a:rPr lang="es-ES" b="1" dirty="0"/>
              <a:t>que</a:t>
            </a:r>
            <a:r>
              <a:rPr lang="es-ES" dirty="0"/>
              <a:t> el de </a:t>
            </a:r>
            <a:r>
              <a:rPr lang="es-ES" b="1" dirty="0"/>
              <a:t>mujeres</a:t>
            </a:r>
            <a:r>
              <a:rPr lang="es-ES" dirty="0"/>
              <a:t> hasta los 60 años. Sin embargo, después de los 60 años, la </a:t>
            </a:r>
            <a:r>
              <a:rPr lang="es-ES" b="1" dirty="0"/>
              <a:t>tendencia se invierte</a:t>
            </a:r>
            <a:r>
              <a:rPr lang="es-ES" dirty="0"/>
              <a:t>, con un mayor porcentaje de mujeres recibiendo </a:t>
            </a:r>
            <a:r>
              <a:rPr lang="es-ES" dirty="0" err="1"/>
              <a:t>tto</a:t>
            </a:r>
            <a:r>
              <a:rPr lang="es-ES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71EFC44-BCA6-6C88-44BC-806F910F76DA}"/>
              </a:ext>
            </a:extLst>
          </p:cNvPr>
          <p:cNvSpPr txBox="1"/>
          <p:nvPr/>
        </p:nvSpPr>
        <p:spPr>
          <a:xfrm>
            <a:off x="3034665" y="6035162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B6032C1-3E24-8C7E-DBBF-48DE94144238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1297141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E66BBB-0E3A-0329-FA37-04CAA66D5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_tradnl" dirty="0"/>
              <a:t>Diferencias en tasa de tratamiento según CCAA</a:t>
            </a:r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C11D857-595C-2B74-2B1C-7491DDD4B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7275" y="1526819"/>
            <a:ext cx="6121715" cy="3968954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A066C96-DAE7-9C66-0094-003D5132BEE9}"/>
              </a:ext>
            </a:extLst>
          </p:cNvPr>
          <p:cNvSpPr txBox="1"/>
          <p:nvPr/>
        </p:nvSpPr>
        <p:spPr>
          <a:xfrm>
            <a:off x="1552194" y="2172468"/>
            <a:ext cx="5049774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</a:t>
            </a:r>
            <a:r>
              <a:rPr lang="es-ES" b="1" dirty="0"/>
              <a:t>tasas de tratamiento más bajas </a:t>
            </a:r>
            <a:r>
              <a:rPr lang="es-ES" dirty="0"/>
              <a:t>s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taluña (8.9%) 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El País Vasco (9.44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r>
              <a:rPr lang="es-ES" dirty="0"/>
              <a:t>Las </a:t>
            </a:r>
            <a:r>
              <a:rPr lang="es-ES" b="1" dirty="0"/>
              <a:t>tasas de tratamiento más altas </a:t>
            </a:r>
            <a:r>
              <a:rPr lang="es-ES" dirty="0"/>
              <a:t>de observaron en:</a:t>
            </a:r>
          </a:p>
          <a:p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Galicia (19.4%)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74A0276-41C7-8C74-0552-877E8F407B64}"/>
              </a:ext>
            </a:extLst>
          </p:cNvPr>
          <p:cNvSpPr txBox="1"/>
          <p:nvPr/>
        </p:nvSpPr>
        <p:spPr>
          <a:xfrm>
            <a:off x="3034665" y="6035162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772FF57-9C40-4320-B1A6-57CA7254AEA1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2366634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>
            <a:extLst>
              <a:ext uri="{FF2B5EF4-FFF2-40B4-BE49-F238E27FC236}">
                <a16:creationId xmlns:a16="http://schemas.microsoft.com/office/drawing/2014/main" id="{30CE2474-0BED-E920-CD90-DB70C0DC0027}"/>
              </a:ext>
            </a:extLst>
          </p:cNvPr>
          <p:cNvSpPr txBox="1"/>
          <p:nvPr/>
        </p:nvSpPr>
        <p:spPr>
          <a:xfrm>
            <a:off x="1488186" y="2668482"/>
            <a:ext cx="344043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El uso de </a:t>
            </a:r>
            <a:r>
              <a:rPr lang="es-ES" sz="1400" b="1" dirty="0">
                <a:solidFill>
                  <a:schemeClr val="accent1"/>
                </a:solidFill>
              </a:rPr>
              <a:t>terapias combinadas </a:t>
            </a:r>
            <a:r>
              <a:rPr lang="es-ES" sz="1400" dirty="0">
                <a:solidFill>
                  <a:schemeClr val="accent1"/>
                </a:solidFill>
              </a:rPr>
              <a:t>también varió ampliamente entre regiones, con:</a:t>
            </a:r>
          </a:p>
          <a:p>
            <a:pPr algn="just"/>
            <a:endParaRPr lang="es-ES" sz="1400" dirty="0">
              <a:solidFill>
                <a:schemeClr val="accent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ifras </a:t>
            </a:r>
            <a:r>
              <a:rPr lang="es-ES" sz="1400" b="1" dirty="0">
                <a:solidFill>
                  <a:schemeClr val="accent1"/>
                </a:solidFill>
              </a:rPr>
              <a:t>más bajas </a:t>
            </a:r>
            <a:r>
              <a:rPr lang="es-ES" sz="1400" dirty="0">
                <a:solidFill>
                  <a:schemeClr val="accent1"/>
                </a:solidFill>
              </a:rPr>
              <a:t>en Cataluña (4.6%) y Madrid (9.6%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ifras </a:t>
            </a:r>
            <a:r>
              <a:rPr lang="es-ES" sz="1400" b="1" dirty="0">
                <a:solidFill>
                  <a:schemeClr val="accent1"/>
                </a:solidFill>
              </a:rPr>
              <a:t>más altas </a:t>
            </a:r>
            <a:r>
              <a:rPr lang="es-ES" sz="1400" dirty="0">
                <a:solidFill>
                  <a:schemeClr val="accent1"/>
                </a:solidFill>
              </a:rPr>
              <a:t>en Extremadura (21.6%) y en Canarias (21.1%) 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1B7D8FFF-CEC2-9F64-3824-0C83A721A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5" y="242888"/>
            <a:ext cx="10515600" cy="865187"/>
          </a:xfrm>
        </p:spPr>
        <p:txBody>
          <a:bodyPr/>
          <a:lstStyle/>
          <a:p>
            <a:pPr algn="ctr"/>
            <a:r>
              <a:rPr lang="es-ES_tradnl" dirty="0"/>
              <a:t>Diferencias en tasa de tratamiento según CCAA</a:t>
            </a:r>
            <a:endParaRPr lang="es-ES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F47C425-2CFF-550B-0A2D-579D26DFC4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5464" y="1885307"/>
            <a:ext cx="6420180" cy="390545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6BFAFDA8-5145-0662-25C5-3345E928ED04}"/>
              </a:ext>
            </a:extLst>
          </p:cNvPr>
          <p:cNvSpPr txBox="1"/>
          <p:nvPr/>
        </p:nvSpPr>
        <p:spPr>
          <a:xfrm>
            <a:off x="3034665" y="6035162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432E8C4-25E9-2C59-CC93-6F49822142BA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3924656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39AFA3-ACAE-8092-D074-24BB1019E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_tradnl" dirty="0"/>
              <a:t>Grado de control del colesterol LDL con mono o doble terapia</a:t>
            </a:r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82DB70E-9C66-59E3-0FF1-0D5F7C63672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9034" b="12767"/>
          <a:stretch>
            <a:fillRect/>
          </a:stretch>
        </p:blipFill>
        <p:spPr>
          <a:xfrm>
            <a:off x="5682115" y="1678658"/>
            <a:ext cx="5463516" cy="3500683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B8D5ECC3-2CCC-F962-1D5E-CA132F0FA375}"/>
              </a:ext>
            </a:extLst>
          </p:cNvPr>
          <p:cNvSpPr txBox="1"/>
          <p:nvPr/>
        </p:nvSpPr>
        <p:spPr>
          <a:xfrm>
            <a:off x="3034665" y="6035162"/>
            <a:ext cx="61036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García-Villarino, M.; Lozano-Aida, C.; et al. Use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f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-Lowering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eatment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imary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ventio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(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idspain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). J. Clin. </a:t>
            </a:r>
            <a:r>
              <a:rPr lang="es-ES" sz="105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ed</a:t>
            </a:r>
            <a:r>
              <a:rPr lang="es-ES" sz="105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2025, 14, 6059. https://doi.org/10.3390/jcm14176059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82470D5D-2345-A320-17D7-47B02E28BD6B}"/>
              </a:ext>
            </a:extLst>
          </p:cNvPr>
          <p:cNvGrpSpPr/>
          <p:nvPr/>
        </p:nvGrpSpPr>
        <p:grpSpPr>
          <a:xfrm>
            <a:off x="5476053" y="5311199"/>
            <a:ext cx="5875639" cy="592104"/>
            <a:chOff x="1046369" y="2323247"/>
            <a:chExt cx="5875639" cy="592104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092E07A2-7722-CE5B-75C6-752139C97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-1" t="87144" r="23681" b="5353"/>
            <a:stretch>
              <a:fillRect/>
            </a:stretch>
          </p:blipFill>
          <p:spPr>
            <a:xfrm>
              <a:off x="1046369" y="2323247"/>
              <a:ext cx="5875639" cy="301081"/>
            </a:xfrm>
            <a:prstGeom prst="rect">
              <a:avLst/>
            </a:prstGeom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A27C9F0D-C874-B462-1C56-24D78D8DC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76834" t="87144" b="3797"/>
            <a:stretch>
              <a:fillRect/>
            </a:stretch>
          </p:blipFill>
          <p:spPr>
            <a:xfrm>
              <a:off x="2029967" y="2551847"/>
              <a:ext cx="1783461" cy="363504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C2F834EB-8B99-EF13-D6BC-636A9982A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654" t="94436" r="83779" b="-132"/>
            <a:stretch>
              <a:fillRect/>
            </a:stretch>
          </p:blipFill>
          <p:spPr>
            <a:xfrm>
              <a:off x="3648456" y="2606041"/>
              <a:ext cx="1044451" cy="228598"/>
            </a:xfrm>
            <a:prstGeom prst="rect">
              <a:avLst/>
            </a:prstGeom>
          </p:spPr>
        </p:pic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28B0DE5-C1BC-171E-795D-878F0989F0C6}"/>
              </a:ext>
            </a:extLst>
          </p:cNvPr>
          <p:cNvSpPr txBox="1"/>
          <p:nvPr/>
        </p:nvSpPr>
        <p:spPr>
          <a:xfrm>
            <a:off x="1328854" y="2307934"/>
            <a:ext cx="403747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b="1" dirty="0">
                <a:solidFill>
                  <a:schemeClr val="accent1"/>
                </a:solidFill>
              </a:rPr>
              <a:t>Las terapias combinadas lograron mayor control lipídico</a:t>
            </a:r>
            <a:r>
              <a:rPr lang="es-ES" sz="16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AA09E4A-D9B7-E880-D3B0-CEA8E0FEDDDF}"/>
              </a:ext>
            </a:extLst>
          </p:cNvPr>
          <p:cNvSpPr txBox="1"/>
          <p:nvPr/>
        </p:nvSpPr>
        <p:spPr>
          <a:xfrm>
            <a:off x="1328854" y="3111694"/>
            <a:ext cx="414719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Específicamente, el </a:t>
            </a:r>
            <a:r>
              <a:rPr lang="es-ES" b="1" dirty="0"/>
              <a:t>56.4%</a:t>
            </a:r>
            <a:r>
              <a:rPr lang="es-ES" dirty="0"/>
              <a:t> de los pacientes que recibieron tratamientos </a:t>
            </a:r>
            <a:r>
              <a:rPr lang="es-ES" b="1" dirty="0"/>
              <a:t>combinados</a:t>
            </a:r>
            <a:r>
              <a:rPr lang="es-ES" dirty="0"/>
              <a:t> alcanzaron niveles de LDL por debajo de 100 mg/</a:t>
            </a:r>
            <a:r>
              <a:rPr lang="es-ES" dirty="0" err="1"/>
              <a:t>dL</a:t>
            </a:r>
            <a:r>
              <a:rPr lang="es-ES" dirty="0"/>
              <a:t>, en comparación con el </a:t>
            </a:r>
            <a:r>
              <a:rPr lang="es-ES" b="1" dirty="0"/>
              <a:t>41.5%</a:t>
            </a:r>
            <a:r>
              <a:rPr lang="es-ES" dirty="0"/>
              <a:t> de aquellos que recibieron </a:t>
            </a:r>
            <a:r>
              <a:rPr lang="es-ES" b="1" dirty="0"/>
              <a:t>monoterapia</a:t>
            </a:r>
            <a:r>
              <a:rPr lang="es-ES" dirty="0"/>
              <a:t>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1C4289B-CAC7-0F72-BDD3-2CC7ED715437}"/>
              </a:ext>
            </a:extLst>
          </p:cNvPr>
          <p:cNvSpPr txBox="1"/>
          <p:nvPr/>
        </p:nvSpPr>
        <p:spPr>
          <a:xfrm rot="16200000">
            <a:off x="10508195" y="3359320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</p:spTree>
    <p:extLst>
      <p:ext uri="{BB962C8B-B14F-4D97-AF65-F5344CB8AC3E}">
        <p14:creationId xmlns:p14="http://schemas.microsoft.com/office/powerpoint/2010/main" val="2524602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778BB-925B-8F13-AD56-3F88C18518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1100D41A-8755-952F-A659-6D17FFB647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1100D41A-8755-952F-A659-6D17FFB647F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2F7E094-F247-FFF0-C703-12045F473D5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450B74C8-150B-0B61-5928-272DFDBFFCC6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9CC93827-4145-F493-786E-8F9EA8211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A04AECFA-BBF4-3563-137E-708CFE9F1086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1FEBE711-7184-EF75-4DA8-96029A145499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377DA186-C41D-1FBF-6A6F-3FC96571C3C4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F813B4EE-37AE-9FC2-B399-D84896C46041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7204DD1A-4FC8-5FDE-E8A5-16D2CC74A319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90BF6267-16DB-E4F7-D936-EB27D06470CD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AB9CFA7A-F9B4-CEFD-DCBF-96EACF110F5C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B38D84DE-C01A-BF8A-7212-94DDC009B45F}"/>
              </a:ext>
            </a:extLst>
          </p:cNvPr>
          <p:cNvSpPr txBox="1"/>
          <p:nvPr/>
        </p:nvSpPr>
        <p:spPr>
          <a:xfrm>
            <a:off x="990541" y="2168379"/>
            <a:ext cx="73758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200" dirty="0">
                <a:solidFill>
                  <a:schemeClr val="bg1"/>
                </a:solidFill>
              </a:rPr>
              <a:t>Lipid Profile Management in Secondary Prevention in Spain: Data from the BDCAP Registry in Spain (LIPIDSPAIN)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4D713FC-AF17-29DF-1EA0-1CC3D48774D1}"/>
              </a:ext>
            </a:extLst>
          </p:cNvPr>
          <p:cNvSpPr txBox="1"/>
          <p:nvPr/>
        </p:nvSpPr>
        <p:spPr>
          <a:xfrm>
            <a:off x="1140622" y="4941939"/>
            <a:ext cx="658965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dirty="0">
                <a:solidFill>
                  <a:schemeClr val="bg1"/>
                </a:solidFill>
              </a:rPr>
              <a:t>García-Villarino, M.; Lambert, C.; et al. </a:t>
            </a:r>
            <a:r>
              <a:rPr lang="es-ES" sz="1000" dirty="0" err="1">
                <a:solidFill>
                  <a:schemeClr val="bg1"/>
                </a:solidFill>
              </a:rPr>
              <a:t>Lipid</a:t>
            </a:r>
            <a:r>
              <a:rPr lang="es-ES" sz="1000" dirty="0">
                <a:solidFill>
                  <a:schemeClr val="bg1"/>
                </a:solidFill>
              </a:rPr>
              <a:t> </a:t>
            </a:r>
            <a:r>
              <a:rPr lang="es-ES" sz="1000" dirty="0" err="1">
                <a:solidFill>
                  <a:schemeClr val="bg1"/>
                </a:solidFill>
              </a:rPr>
              <a:t>Profile</a:t>
            </a:r>
            <a:r>
              <a:rPr lang="es-ES" sz="1000" dirty="0">
                <a:solidFill>
                  <a:schemeClr val="bg1"/>
                </a:solidFill>
              </a:rPr>
              <a:t> Management in </a:t>
            </a:r>
            <a:r>
              <a:rPr lang="es-ES" sz="1000" dirty="0" err="1">
                <a:solidFill>
                  <a:schemeClr val="bg1"/>
                </a:solidFill>
              </a:rPr>
              <a:t>Secondary</a:t>
            </a:r>
            <a:r>
              <a:rPr lang="es-ES" sz="1000" dirty="0">
                <a:solidFill>
                  <a:schemeClr val="bg1"/>
                </a:solidFill>
              </a:rPr>
              <a:t> </a:t>
            </a:r>
            <a:r>
              <a:rPr lang="es-ES" sz="1000" dirty="0" err="1">
                <a:solidFill>
                  <a:schemeClr val="bg1"/>
                </a:solidFill>
              </a:rPr>
              <a:t>Prevention</a:t>
            </a:r>
            <a:r>
              <a:rPr lang="es-ES" sz="1000" dirty="0">
                <a:solidFill>
                  <a:schemeClr val="bg1"/>
                </a:solidFill>
              </a:rPr>
              <a:t> in </a:t>
            </a:r>
            <a:r>
              <a:rPr lang="es-ES" sz="1000" dirty="0" err="1">
                <a:solidFill>
                  <a:schemeClr val="bg1"/>
                </a:solidFill>
              </a:rPr>
              <a:t>Spain</a:t>
            </a:r>
            <a:r>
              <a:rPr lang="es-ES" sz="1000" dirty="0">
                <a:solidFill>
                  <a:schemeClr val="bg1"/>
                </a:solidFill>
              </a:rPr>
              <a:t>: Data </a:t>
            </a:r>
            <a:r>
              <a:rPr lang="es-ES" sz="1000" dirty="0" err="1">
                <a:solidFill>
                  <a:schemeClr val="bg1"/>
                </a:solidFill>
              </a:rPr>
              <a:t>from</a:t>
            </a:r>
            <a:r>
              <a:rPr lang="es-ES" sz="1000" dirty="0">
                <a:solidFill>
                  <a:schemeClr val="bg1"/>
                </a:solidFill>
              </a:rPr>
              <a:t> </a:t>
            </a:r>
            <a:r>
              <a:rPr lang="es-ES" sz="1000" dirty="0" err="1">
                <a:solidFill>
                  <a:schemeClr val="bg1"/>
                </a:solidFill>
              </a:rPr>
              <a:t>the</a:t>
            </a:r>
            <a:r>
              <a:rPr lang="es-ES" sz="1000" dirty="0">
                <a:solidFill>
                  <a:schemeClr val="bg1"/>
                </a:solidFill>
              </a:rPr>
              <a:t> BDCAP </a:t>
            </a:r>
            <a:r>
              <a:rPr lang="es-ES" sz="1000" dirty="0" err="1">
                <a:solidFill>
                  <a:schemeClr val="bg1"/>
                </a:solidFill>
              </a:rPr>
              <a:t>Registry</a:t>
            </a:r>
            <a:r>
              <a:rPr lang="es-ES" sz="1000" dirty="0">
                <a:solidFill>
                  <a:schemeClr val="bg1"/>
                </a:solidFill>
              </a:rPr>
              <a:t> in </a:t>
            </a:r>
            <a:r>
              <a:rPr lang="es-ES" sz="1000" dirty="0" err="1">
                <a:solidFill>
                  <a:schemeClr val="bg1"/>
                </a:solidFill>
              </a:rPr>
              <a:t>Spain</a:t>
            </a:r>
            <a:r>
              <a:rPr lang="es-ES" sz="1000" dirty="0">
                <a:solidFill>
                  <a:schemeClr val="bg1"/>
                </a:solidFill>
              </a:rPr>
              <a:t> (LIPIDSPAIN). J. Clin. </a:t>
            </a:r>
            <a:r>
              <a:rPr lang="es-ES" sz="1000" dirty="0" err="1">
                <a:solidFill>
                  <a:schemeClr val="bg1"/>
                </a:solidFill>
              </a:rPr>
              <a:t>Med</a:t>
            </a:r>
            <a:r>
              <a:rPr lang="es-ES" sz="1000" dirty="0">
                <a:solidFill>
                  <a:schemeClr val="bg1"/>
                </a:solidFill>
              </a:rPr>
              <a:t>. 2025, 14, 6037. https://doi.org/10.3390/jcm14176037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E9657F0-EB58-D81D-7F9A-15B17B45553D}"/>
              </a:ext>
            </a:extLst>
          </p:cNvPr>
          <p:cNvSpPr txBox="1"/>
          <p:nvPr/>
        </p:nvSpPr>
        <p:spPr>
          <a:xfrm>
            <a:off x="3037920" y="6499462"/>
            <a:ext cx="27950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bg1">
                    <a:lumMod val="85000"/>
                  </a:schemeClr>
                </a:solidFill>
              </a:rPr>
              <a:t>MA-ES-NOP-2500039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E6E0C2C-C67E-DFB6-A616-893B508AD9F9}"/>
              </a:ext>
            </a:extLst>
          </p:cNvPr>
          <p:cNvSpPr txBox="1"/>
          <p:nvPr/>
        </p:nvSpPr>
        <p:spPr>
          <a:xfrm>
            <a:off x="640012" y="6095505"/>
            <a:ext cx="279505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chemeClr val="bg1"/>
                </a:solidFill>
              </a:rPr>
              <a:t>Fecha de elaboración: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2012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72C4C3-6DCD-45AE-AEB4-3F49EA0A2E81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ae3fc097-e688-43a5-8c01-fb02bef85f7f"/>
    <ds:schemaRef ds:uri="http://purl.org/dc/dcmitype/"/>
    <ds:schemaRef ds:uri="63416f03-a8ab-4d83-bbbb-acc100651cfc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81BF075-79DB-4200-A66C-D502CC49F3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416f03-a8ab-4d83-bbbb-acc100651cfc"/>
    <ds:schemaRef ds:uri="ae3fc097-e688-43a5-8c01-fb02bef85f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05</Words>
  <Application>Microsoft Office PowerPoint</Application>
  <PresentationFormat>Panorámica</PresentationFormat>
  <Paragraphs>193</Paragraphs>
  <Slides>2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5</vt:i4>
      </vt:variant>
    </vt:vector>
  </HeadingPairs>
  <TitlesOfParts>
    <vt:vector size="33" baseType="lpstr">
      <vt:lpstr>Aptos</vt:lpstr>
      <vt:lpstr>Arial</vt:lpstr>
      <vt:lpstr>Arial Black</vt:lpstr>
      <vt:lpstr>Calibri</vt:lpstr>
      <vt:lpstr>Tema1</vt:lpstr>
      <vt:lpstr>1_Office Theme</vt:lpstr>
      <vt:lpstr>think-cell Slide</vt:lpstr>
      <vt:lpstr>Diapositiva de think-cell</vt:lpstr>
      <vt:lpstr>Presentación de PowerPoint</vt:lpstr>
      <vt:lpstr>Objetivo:</vt:lpstr>
      <vt:lpstr>Diferencias en tasa de tto según tamaño municipal y estado de empleo</vt:lpstr>
      <vt:lpstr>Diferencias en tasa de tratamiento según año </vt:lpstr>
      <vt:lpstr>Diferencias en tasa de tratamiento según edad y sexo </vt:lpstr>
      <vt:lpstr>Diferencias en tasa de tratamiento según CCAA</vt:lpstr>
      <vt:lpstr>Diferencias en tasa de tratamiento según CCAA</vt:lpstr>
      <vt:lpstr>Grado de control del colesterol LDL con mono o doble terapia</vt:lpstr>
      <vt:lpstr>Presentación de PowerPoint</vt:lpstr>
      <vt:lpstr>Objetivo:</vt:lpstr>
      <vt:lpstr>Tendencias de tto hipolipemiante entre el 2019 y el 2023</vt:lpstr>
      <vt:lpstr>Diferencias en tasa de tto según tamaño municipal y estado de empleo</vt:lpstr>
      <vt:lpstr>Diferencias en tasa de tratamiento según edad y sexo </vt:lpstr>
      <vt:lpstr>Diferencias en tasa de tratamiento según CCAA</vt:lpstr>
      <vt:lpstr>Diferencias en tasa de tratamiento según CCAA</vt:lpstr>
      <vt:lpstr>Diferencias en tasa de tratamiento según enfermedad previa</vt:lpstr>
      <vt:lpstr>Grado de control del colesterol LDL</vt:lpstr>
      <vt:lpstr>Grado de control del colesterol LD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201</cp:revision>
  <dcterms:created xsi:type="dcterms:W3CDTF">2024-11-05T13:29:37Z</dcterms:created>
  <dcterms:modified xsi:type="dcterms:W3CDTF">2026-01-08T10:5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4F152F5A6A4643A2C50B67B6208B3F</vt:lpwstr>
  </property>
  <property fmtid="{D5CDD505-2E9C-101B-9397-08002B2CF9AE}" pid="3" name="MSIP_Label_6b6e20c6-cf94-42a2-9862-6e25337ae690_Enabled">
    <vt:lpwstr>true</vt:lpwstr>
  </property>
  <property fmtid="{D5CDD505-2E9C-101B-9397-08002B2CF9AE}" pid="4" name="MSIP_Label_6b6e20c6-cf94-42a2-9862-6e25337ae690_SetDate">
    <vt:lpwstr>2025-10-01T07:27:40Z</vt:lpwstr>
  </property>
  <property fmtid="{D5CDD505-2E9C-101B-9397-08002B2CF9AE}" pid="5" name="MSIP_Label_6b6e20c6-cf94-42a2-9862-6e25337ae690_Method">
    <vt:lpwstr>Privileged</vt:lpwstr>
  </property>
  <property fmtid="{D5CDD505-2E9C-101B-9397-08002B2CF9AE}" pid="6" name="MSIP_Label_6b6e20c6-cf94-42a2-9862-6e25337ae690_Name">
    <vt:lpwstr>Public</vt:lpwstr>
  </property>
  <property fmtid="{D5CDD505-2E9C-101B-9397-08002B2CF9AE}" pid="7" name="MSIP_Label_6b6e20c6-cf94-42a2-9862-6e25337ae690_SiteId">
    <vt:lpwstr>342ace0e-1054-45ce-9b30-900fc0440b9d</vt:lpwstr>
  </property>
  <property fmtid="{D5CDD505-2E9C-101B-9397-08002B2CF9AE}" pid="8" name="MSIP_Label_6b6e20c6-cf94-42a2-9862-6e25337ae690_ActionId">
    <vt:lpwstr>4c9812d0-c151-4093-9063-ce6665f45b50</vt:lpwstr>
  </property>
  <property fmtid="{D5CDD505-2E9C-101B-9397-08002B2CF9AE}" pid="9" name="MSIP_Label_6b6e20c6-cf94-42a2-9862-6e25337ae690_ContentBits">
    <vt:lpwstr>0</vt:lpwstr>
  </property>
  <property fmtid="{D5CDD505-2E9C-101B-9397-08002B2CF9AE}" pid="10" name="MSIP_Label_6b6e20c6-cf94-42a2-9862-6e25337ae690_Tag">
    <vt:lpwstr>10, 0, 1, 1</vt:lpwstr>
  </property>
</Properties>
</file>